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0" r:id="rId4"/>
    <p:sldMasterId id="2147483768" r:id="rId5"/>
    <p:sldMasterId id="2147483770" r:id="rId6"/>
    <p:sldMasterId id="2147483782" r:id="rId7"/>
    <p:sldMasterId id="2147483794" r:id="rId8"/>
    <p:sldMasterId id="2147483806" r:id="rId9"/>
    <p:sldMasterId id="2147483810" r:id="rId10"/>
  </p:sldMasterIdLst>
  <p:notesMasterIdLst>
    <p:notesMasterId r:id="rId52"/>
  </p:notesMasterIdLst>
  <p:sldIdLst>
    <p:sldId id="256" r:id="rId11"/>
    <p:sldId id="2145706036" r:id="rId12"/>
    <p:sldId id="2145706033" r:id="rId13"/>
    <p:sldId id="259" r:id="rId14"/>
    <p:sldId id="2145706038" r:id="rId15"/>
    <p:sldId id="2145706034" r:id="rId16"/>
    <p:sldId id="265" r:id="rId17"/>
    <p:sldId id="2145706039" r:id="rId18"/>
    <p:sldId id="2145706040" r:id="rId19"/>
    <p:sldId id="1429" r:id="rId20"/>
    <p:sldId id="308" r:id="rId21"/>
    <p:sldId id="263" r:id="rId22"/>
    <p:sldId id="2145706041" r:id="rId23"/>
    <p:sldId id="295" r:id="rId24"/>
    <p:sldId id="294" r:id="rId25"/>
    <p:sldId id="296" r:id="rId26"/>
    <p:sldId id="298" r:id="rId27"/>
    <p:sldId id="300" r:id="rId28"/>
    <p:sldId id="2145706042" r:id="rId29"/>
    <p:sldId id="264" r:id="rId30"/>
    <p:sldId id="258" r:id="rId31"/>
    <p:sldId id="260" r:id="rId32"/>
    <p:sldId id="2145706043" r:id="rId33"/>
    <p:sldId id="266" r:id="rId34"/>
    <p:sldId id="267" r:id="rId35"/>
    <p:sldId id="2145706044" r:id="rId36"/>
    <p:sldId id="1241" r:id="rId37"/>
    <p:sldId id="1242" r:id="rId38"/>
    <p:sldId id="1243" r:id="rId39"/>
    <p:sldId id="1238" r:id="rId40"/>
    <p:sldId id="1240" r:id="rId41"/>
    <p:sldId id="1211" r:id="rId42"/>
    <p:sldId id="293" r:id="rId43"/>
    <p:sldId id="291" r:id="rId44"/>
    <p:sldId id="290" r:id="rId45"/>
    <p:sldId id="2145706045" r:id="rId46"/>
    <p:sldId id="292" r:id="rId47"/>
    <p:sldId id="284" r:id="rId48"/>
    <p:sldId id="288" r:id="rId49"/>
    <p:sldId id="273" r:id="rId50"/>
    <p:sldId id="289" r:id="rId5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87DA700-17DD-1B0D-AC09-DD16C42BD79F}" name="Lyaziza G. Sabyrova" initials="LT" userId="S::lsabyrova@adb.org::ae7fddb7-c893-4522-97e0-04a09d283929" providerId="AD"/>
  <p188:author id="{B8E1F657-509A-015F-1606-81ABB5B970D5}" name="Reneli Gloria" initials="" userId="63748d1c5526478d" providerId="Windows Live"/>
  <p188:author id="{D8736C9C-6EC0-41E0-6322-4388CBEBFECE}" name="Dorothea C. Lazaro" initials="" userId="S::dlazaro@adb.org::805b2f41-9d5e-4ff4-8a46-e4c17eaa3090" providerId="AD"/>
  <p188:author id="{0B977CAD-25F5-E925-846B-695D80F95BC0}" name="Kenzhekhan Abuov" initials="" userId="S::kabuov@adb.org::902729f0-25f2-45d2-93e1-7080b8c08c0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49EE33B-2B86-451D-801C-E387DC26B4B7}" v="10" dt="2023-10-18T04:15:56.66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762"/>
    <p:restoredTop sz="94694"/>
  </p:normalViewPr>
  <p:slideViewPr>
    <p:cSldViewPr snapToGrid="0">
      <p:cViewPr varScale="1">
        <p:scale>
          <a:sx n="78" d="100"/>
          <a:sy n="78" d="100"/>
        </p:scale>
        <p:origin x="662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50" Type="http://schemas.openxmlformats.org/officeDocument/2006/relationships/slide" Target="slides/slide40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3" Type="http://schemas.openxmlformats.org/officeDocument/2006/relationships/presProps" Target="presProps.xml"/><Relationship Id="rId58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1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59" Type="http://schemas.microsoft.com/office/2018/10/relationships/authors" Target="authors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Relationship Id="rId57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neli Gloria" userId="63748d1c5526478d" providerId="LiveId" clId="{949EE33B-2B86-451D-801C-E387DC26B4B7}"/>
    <pc:docChg chg="delSld modSld delMainMaster">
      <pc:chgData name="Reneli Gloria" userId="63748d1c5526478d" providerId="LiveId" clId="{949EE33B-2B86-451D-801C-E387DC26B4B7}" dt="2023-10-18T04:13:49.519" v="48" actId="47"/>
      <pc:docMkLst>
        <pc:docMk/>
      </pc:docMkLst>
      <pc:sldChg chg="del">
        <pc:chgData name="Reneli Gloria" userId="63748d1c5526478d" providerId="LiveId" clId="{949EE33B-2B86-451D-801C-E387DC26B4B7}" dt="2023-10-18T04:13:38.114" v="28" actId="47"/>
        <pc:sldMkLst>
          <pc:docMk/>
          <pc:sldMk cId="3237290184" sldId="258"/>
        </pc:sldMkLst>
      </pc:sldChg>
      <pc:sldChg chg="del">
        <pc:chgData name="Reneli Gloria" userId="63748d1c5526478d" providerId="LiveId" clId="{949EE33B-2B86-451D-801C-E387DC26B4B7}" dt="2023-10-18T04:13:38.318" v="29" actId="47"/>
        <pc:sldMkLst>
          <pc:docMk/>
          <pc:sldMk cId="200370804" sldId="260"/>
        </pc:sldMkLst>
      </pc:sldChg>
      <pc:sldChg chg="del">
        <pc:chgData name="Reneli Gloria" userId="63748d1c5526478d" providerId="LiveId" clId="{949EE33B-2B86-451D-801C-E387DC26B4B7}" dt="2023-10-18T04:13:36.197" v="19" actId="47"/>
        <pc:sldMkLst>
          <pc:docMk/>
          <pc:sldMk cId="3476259782" sldId="263"/>
        </pc:sldMkLst>
      </pc:sldChg>
      <pc:sldChg chg="del">
        <pc:chgData name="Reneli Gloria" userId="63748d1c5526478d" providerId="LiveId" clId="{949EE33B-2B86-451D-801C-E387DC26B4B7}" dt="2023-10-18T04:13:37.926" v="27" actId="47"/>
        <pc:sldMkLst>
          <pc:docMk/>
          <pc:sldMk cId="4119695617" sldId="264"/>
        </pc:sldMkLst>
      </pc:sldChg>
      <pc:sldChg chg="del">
        <pc:chgData name="Reneli Gloria" userId="63748d1c5526478d" providerId="LiveId" clId="{949EE33B-2B86-451D-801C-E387DC26B4B7}" dt="2023-10-18T04:13:38.665" v="31" actId="47"/>
        <pc:sldMkLst>
          <pc:docMk/>
          <pc:sldMk cId="3318884339" sldId="266"/>
        </pc:sldMkLst>
      </pc:sldChg>
      <pc:sldChg chg="del">
        <pc:chgData name="Reneli Gloria" userId="63748d1c5526478d" providerId="LiveId" clId="{949EE33B-2B86-451D-801C-E387DC26B4B7}" dt="2023-10-18T04:13:38.852" v="32" actId="47"/>
        <pc:sldMkLst>
          <pc:docMk/>
          <pc:sldMk cId="2836355959" sldId="267"/>
        </pc:sldMkLst>
      </pc:sldChg>
      <pc:sldChg chg="del">
        <pc:chgData name="Reneli Gloria" userId="63748d1c5526478d" providerId="LiveId" clId="{949EE33B-2B86-451D-801C-E387DC26B4B7}" dt="2023-10-18T04:13:48.592" v="47" actId="47"/>
        <pc:sldMkLst>
          <pc:docMk/>
          <pc:sldMk cId="976830862" sldId="273"/>
        </pc:sldMkLst>
      </pc:sldChg>
      <pc:sldChg chg="del">
        <pc:chgData name="Reneli Gloria" userId="63748d1c5526478d" providerId="LiveId" clId="{949EE33B-2B86-451D-801C-E387DC26B4B7}" dt="2023-10-18T04:13:46.158" v="45" actId="47"/>
        <pc:sldMkLst>
          <pc:docMk/>
          <pc:sldMk cId="644812422" sldId="284"/>
        </pc:sldMkLst>
      </pc:sldChg>
      <pc:sldChg chg="del">
        <pc:chgData name="Reneli Gloria" userId="63748d1c5526478d" providerId="LiveId" clId="{949EE33B-2B86-451D-801C-E387DC26B4B7}" dt="2023-10-18T04:13:46.912" v="46" actId="47"/>
        <pc:sldMkLst>
          <pc:docMk/>
          <pc:sldMk cId="802875349" sldId="288"/>
        </pc:sldMkLst>
      </pc:sldChg>
      <pc:sldChg chg="del">
        <pc:chgData name="Reneli Gloria" userId="63748d1c5526478d" providerId="LiveId" clId="{949EE33B-2B86-451D-801C-E387DC26B4B7}" dt="2023-10-18T04:13:49.519" v="48" actId="47"/>
        <pc:sldMkLst>
          <pc:docMk/>
          <pc:sldMk cId="264009047" sldId="289"/>
        </pc:sldMkLst>
      </pc:sldChg>
      <pc:sldChg chg="del">
        <pc:chgData name="Reneli Gloria" userId="63748d1c5526478d" providerId="LiveId" clId="{949EE33B-2B86-451D-801C-E387DC26B4B7}" dt="2023-10-18T04:13:42.852" v="42" actId="47"/>
        <pc:sldMkLst>
          <pc:docMk/>
          <pc:sldMk cId="2531064656" sldId="290"/>
        </pc:sldMkLst>
      </pc:sldChg>
      <pc:sldChg chg="del">
        <pc:chgData name="Reneli Gloria" userId="63748d1c5526478d" providerId="LiveId" clId="{949EE33B-2B86-451D-801C-E387DC26B4B7}" dt="2023-10-18T04:13:42.436" v="41" actId="47"/>
        <pc:sldMkLst>
          <pc:docMk/>
          <pc:sldMk cId="1182222268" sldId="291"/>
        </pc:sldMkLst>
      </pc:sldChg>
      <pc:sldChg chg="del">
        <pc:chgData name="Reneli Gloria" userId="63748d1c5526478d" providerId="LiveId" clId="{949EE33B-2B86-451D-801C-E387DC26B4B7}" dt="2023-10-18T04:13:43.943" v="44" actId="47"/>
        <pc:sldMkLst>
          <pc:docMk/>
          <pc:sldMk cId="4289949680" sldId="292"/>
        </pc:sldMkLst>
      </pc:sldChg>
      <pc:sldChg chg="del">
        <pc:chgData name="Reneli Gloria" userId="63748d1c5526478d" providerId="LiveId" clId="{949EE33B-2B86-451D-801C-E387DC26B4B7}" dt="2023-10-18T04:13:41.964" v="40" actId="47"/>
        <pc:sldMkLst>
          <pc:docMk/>
          <pc:sldMk cId="1402487333" sldId="293"/>
        </pc:sldMkLst>
      </pc:sldChg>
      <pc:sldChg chg="del">
        <pc:chgData name="Reneli Gloria" userId="63748d1c5526478d" providerId="LiveId" clId="{949EE33B-2B86-451D-801C-E387DC26B4B7}" dt="2023-10-18T04:13:36.889" v="22" actId="47"/>
        <pc:sldMkLst>
          <pc:docMk/>
          <pc:sldMk cId="4003325401" sldId="294"/>
        </pc:sldMkLst>
      </pc:sldChg>
      <pc:sldChg chg="del">
        <pc:chgData name="Reneli Gloria" userId="63748d1c5526478d" providerId="LiveId" clId="{949EE33B-2B86-451D-801C-E387DC26B4B7}" dt="2023-10-18T04:13:36.685" v="21" actId="47"/>
        <pc:sldMkLst>
          <pc:docMk/>
          <pc:sldMk cId="541113160" sldId="295"/>
        </pc:sldMkLst>
      </pc:sldChg>
      <pc:sldChg chg="del">
        <pc:chgData name="Reneli Gloria" userId="63748d1c5526478d" providerId="LiveId" clId="{949EE33B-2B86-451D-801C-E387DC26B4B7}" dt="2023-10-18T04:13:37.125" v="23" actId="47"/>
        <pc:sldMkLst>
          <pc:docMk/>
          <pc:sldMk cId="3845602710" sldId="296"/>
        </pc:sldMkLst>
      </pc:sldChg>
      <pc:sldChg chg="del">
        <pc:chgData name="Reneli Gloria" userId="63748d1c5526478d" providerId="LiveId" clId="{949EE33B-2B86-451D-801C-E387DC26B4B7}" dt="2023-10-18T04:13:37.329" v="24" actId="47"/>
        <pc:sldMkLst>
          <pc:docMk/>
          <pc:sldMk cId="412158556" sldId="298"/>
        </pc:sldMkLst>
      </pc:sldChg>
      <pc:sldChg chg="del">
        <pc:chgData name="Reneli Gloria" userId="63748d1c5526478d" providerId="LiveId" clId="{949EE33B-2B86-451D-801C-E387DC26B4B7}" dt="2023-10-18T04:13:37.540" v="25" actId="47"/>
        <pc:sldMkLst>
          <pc:docMk/>
          <pc:sldMk cId="3502239725" sldId="300"/>
        </pc:sldMkLst>
      </pc:sldChg>
      <pc:sldChg chg="del">
        <pc:chgData name="Reneli Gloria" userId="63748d1c5526478d" providerId="LiveId" clId="{949EE33B-2B86-451D-801C-E387DC26B4B7}" dt="2023-10-18T04:13:35.936" v="18" actId="47"/>
        <pc:sldMkLst>
          <pc:docMk/>
          <pc:sldMk cId="0" sldId="308"/>
        </pc:sldMkLst>
      </pc:sldChg>
      <pc:sldChg chg="del">
        <pc:chgData name="Reneli Gloria" userId="63748d1c5526478d" providerId="LiveId" clId="{949EE33B-2B86-451D-801C-E387DC26B4B7}" dt="2023-10-18T04:13:40.174" v="39" actId="47"/>
        <pc:sldMkLst>
          <pc:docMk/>
          <pc:sldMk cId="1607438961" sldId="1211"/>
        </pc:sldMkLst>
      </pc:sldChg>
      <pc:sldChg chg="del">
        <pc:chgData name="Reneli Gloria" userId="63748d1c5526478d" providerId="LiveId" clId="{949EE33B-2B86-451D-801C-E387DC26B4B7}" dt="2023-10-18T04:13:39.781" v="37" actId="47"/>
        <pc:sldMkLst>
          <pc:docMk/>
          <pc:sldMk cId="4036976299" sldId="1238"/>
        </pc:sldMkLst>
      </pc:sldChg>
      <pc:sldChg chg="del">
        <pc:chgData name="Reneli Gloria" userId="63748d1c5526478d" providerId="LiveId" clId="{949EE33B-2B86-451D-801C-E387DC26B4B7}" dt="2023-10-18T04:13:39.985" v="38" actId="47"/>
        <pc:sldMkLst>
          <pc:docMk/>
          <pc:sldMk cId="3536490213" sldId="1240"/>
        </pc:sldMkLst>
      </pc:sldChg>
      <pc:sldChg chg="del">
        <pc:chgData name="Reneli Gloria" userId="63748d1c5526478d" providerId="LiveId" clId="{949EE33B-2B86-451D-801C-E387DC26B4B7}" dt="2023-10-18T04:13:39.230" v="34" actId="47"/>
        <pc:sldMkLst>
          <pc:docMk/>
          <pc:sldMk cId="2165978987" sldId="1241"/>
        </pc:sldMkLst>
      </pc:sldChg>
      <pc:sldChg chg="del">
        <pc:chgData name="Reneli Gloria" userId="63748d1c5526478d" providerId="LiveId" clId="{949EE33B-2B86-451D-801C-E387DC26B4B7}" dt="2023-10-18T04:13:39.419" v="35" actId="47"/>
        <pc:sldMkLst>
          <pc:docMk/>
          <pc:sldMk cId="144806220" sldId="1242"/>
        </pc:sldMkLst>
      </pc:sldChg>
      <pc:sldChg chg="del">
        <pc:chgData name="Reneli Gloria" userId="63748d1c5526478d" providerId="LiveId" clId="{949EE33B-2B86-451D-801C-E387DC26B4B7}" dt="2023-10-18T04:13:39.577" v="36" actId="47"/>
        <pc:sldMkLst>
          <pc:docMk/>
          <pc:sldMk cId="683347445" sldId="1243"/>
        </pc:sldMkLst>
      </pc:sldChg>
      <pc:sldChg chg="del">
        <pc:chgData name="Reneli Gloria" userId="63748d1c5526478d" providerId="LiveId" clId="{949EE33B-2B86-451D-801C-E387DC26B4B7}" dt="2023-10-18T04:13:35.710" v="17" actId="47"/>
        <pc:sldMkLst>
          <pc:docMk/>
          <pc:sldMk cId="797038099" sldId="1429"/>
        </pc:sldMkLst>
      </pc:sldChg>
      <pc:sldChg chg="modSp mod">
        <pc:chgData name="Reneli Gloria" userId="63748d1c5526478d" providerId="LiveId" clId="{949EE33B-2B86-451D-801C-E387DC26B4B7}" dt="2023-10-17T12:40:55.459" v="14" actId="122"/>
        <pc:sldMkLst>
          <pc:docMk/>
          <pc:sldMk cId="2088425732" sldId="2145706033"/>
        </pc:sldMkLst>
        <pc:spChg chg="mod">
          <ac:chgData name="Reneli Gloria" userId="63748d1c5526478d" providerId="LiveId" clId="{949EE33B-2B86-451D-801C-E387DC26B4B7}" dt="2023-10-17T12:40:55.459" v="14" actId="122"/>
          <ac:spMkLst>
            <pc:docMk/>
            <pc:sldMk cId="2088425732" sldId="2145706033"/>
            <ac:spMk id="48" creationId="{157BE34F-8B35-9C22-2B1B-6176EDA7C0F4}"/>
          </ac:spMkLst>
        </pc:spChg>
        <pc:spChg chg="mod">
          <ac:chgData name="Reneli Gloria" userId="63748d1c5526478d" providerId="LiveId" clId="{949EE33B-2B86-451D-801C-E387DC26B4B7}" dt="2023-10-17T12:40:47.668" v="11" actId="14100"/>
          <ac:spMkLst>
            <pc:docMk/>
            <pc:sldMk cId="2088425732" sldId="2145706033"/>
            <ac:spMk id="49" creationId="{3C3CCD78-43F7-99F9-8380-AC427D20CF14}"/>
          </ac:spMkLst>
        </pc:spChg>
      </pc:sldChg>
      <pc:sldChg chg="del">
        <pc:chgData name="Reneli Gloria" userId="63748d1c5526478d" providerId="LiveId" clId="{949EE33B-2B86-451D-801C-E387DC26B4B7}" dt="2023-10-18T04:13:34.738" v="15" actId="47"/>
        <pc:sldMkLst>
          <pc:docMk/>
          <pc:sldMk cId="1132021968" sldId="2145706039"/>
        </pc:sldMkLst>
      </pc:sldChg>
      <pc:sldChg chg="del">
        <pc:chgData name="Reneli Gloria" userId="63748d1c5526478d" providerId="LiveId" clId="{949EE33B-2B86-451D-801C-E387DC26B4B7}" dt="2023-10-18T04:13:35.350" v="16" actId="47"/>
        <pc:sldMkLst>
          <pc:docMk/>
          <pc:sldMk cId="2752515716" sldId="2145706040"/>
        </pc:sldMkLst>
      </pc:sldChg>
      <pc:sldChg chg="del">
        <pc:chgData name="Reneli Gloria" userId="63748d1c5526478d" providerId="LiveId" clId="{949EE33B-2B86-451D-801C-E387DC26B4B7}" dt="2023-10-18T04:13:36.418" v="20" actId="47"/>
        <pc:sldMkLst>
          <pc:docMk/>
          <pc:sldMk cId="1714557018" sldId="2145706041"/>
        </pc:sldMkLst>
      </pc:sldChg>
      <pc:sldChg chg="del">
        <pc:chgData name="Reneli Gloria" userId="63748d1c5526478d" providerId="LiveId" clId="{949EE33B-2B86-451D-801C-E387DC26B4B7}" dt="2023-10-18T04:13:37.740" v="26" actId="47"/>
        <pc:sldMkLst>
          <pc:docMk/>
          <pc:sldMk cId="3674568565" sldId="2145706042"/>
        </pc:sldMkLst>
      </pc:sldChg>
      <pc:sldChg chg="del">
        <pc:chgData name="Reneli Gloria" userId="63748d1c5526478d" providerId="LiveId" clId="{949EE33B-2B86-451D-801C-E387DC26B4B7}" dt="2023-10-18T04:13:38.491" v="30" actId="47"/>
        <pc:sldMkLst>
          <pc:docMk/>
          <pc:sldMk cId="1194916509" sldId="2145706043"/>
        </pc:sldMkLst>
      </pc:sldChg>
      <pc:sldChg chg="del">
        <pc:chgData name="Reneli Gloria" userId="63748d1c5526478d" providerId="LiveId" clId="{949EE33B-2B86-451D-801C-E387DC26B4B7}" dt="2023-10-18T04:13:39.040" v="33" actId="47"/>
        <pc:sldMkLst>
          <pc:docMk/>
          <pc:sldMk cId="3688081435" sldId="2145706044"/>
        </pc:sldMkLst>
      </pc:sldChg>
      <pc:sldChg chg="del">
        <pc:chgData name="Reneli Gloria" userId="63748d1c5526478d" providerId="LiveId" clId="{949EE33B-2B86-451D-801C-E387DC26B4B7}" dt="2023-10-18T04:13:43.283" v="43" actId="47"/>
        <pc:sldMkLst>
          <pc:docMk/>
          <pc:sldMk cId="3785256286" sldId="2145706045"/>
        </pc:sldMkLst>
      </pc:sldChg>
      <pc:sldMasterChg chg="del delSldLayout">
        <pc:chgData name="Reneli Gloria" userId="63748d1c5526478d" providerId="LiveId" clId="{949EE33B-2B86-451D-801C-E387DC26B4B7}" dt="2023-10-18T04:13:36.197" v="19" actId="47"/>
        <pc:sldMasterMkLst>
          <pc:docMk/>
          <pc:sldMasterMk cId="4208055795" sldId="2147483732"/>
        </pc:sldMasterMkLst>
        <pc:sldLayoutChg chg="del">
          <pc:chgData name="Reneli Gloria" userId="63748d1c5526478d" providerId="LiveId" clId="{949EE33B-2B86-451D-801C-E387DC26B4B7}" dt="2023-10-18T04:13:36.197" v="19" actId="47"/>
          <pc:sldLayoutMkLst>
            <pc:docMk/>
            <pc:sldMasterMk cId="4208055795" sldId="2147483732"/>
            <pc:sldLayoutMk cId="3517256272" sldId="2147483733"/>
          </pc:sldLayoutMkLst>
        </pc:sldLayoutChg>
        <pc:sldLayoutChg chg="del">
          <pc:chgData name="Reneli Gloria" userId="63748d1c5526478d" providerId="LiveId" clId="{949EE33B-2B86-451D-801C-E387DC26B4B7}" dt="2023-10-18T04:13:36.197" v="19" actId="47"/>
          <pc:sldLayoutMkLst>
            <pc:docMk/>
            <pc:sldMasterMk cId="4208055795" sldId="2147483732"/>
            <pc:sldLayoutMk cId="2871299088" sldId="2147483734"/>
          </pc:sldLayoutMkLst>
        </pc:sldLayoutChg>
        <pc:sldLayoutChg chg="del">
          <pc:chgData name="Reneli Gloria" userId="63748d1c5526478d" providerId="LiveId" clId="{949EE33B-2B86-451D-801C-E387DC26B4B7}" dt="2023-10-18T04:13:36.197" v="19" actId="47"/>
          <pc:sldLayoutMkLst>
            <pc:docMk/>
            <pc:sldMasterMk cId="4208055795" sldId="2147483732"/>
            <pc:sldLayoutMk cId="1140953380" sldId="2147483735"/>
          </pc:sldLayoutMkLst>
        </pc:sldLayoutChg>
        <pc:sldLayoutChg chg="del">
          <pc:chgData name="Reneli Gloria" userId="63748d1c5526478d" providerId="LiveId" clId="{949EE33B-2B86-451D-801C-E387DC26B4B7}" dt="2023-10-18T04:13:36.197" v="19" actId="47"/>
          <pc:sldLayoutMkLst>
            <pc:docMk/>
            <pc:sldMasterMk cId="4208055795" sldId="2147483732"/>
            <pc:sldLayoutMk cId="2464070411" sldId="2147483736"/>
          </pc:sldLayoutMkLst>
        </pc:sldLayoutChg>
        <pc:sldLayoutChg chg="del">
          <pc:chgData name="Reneli Gloria" userId="63748d1c5526478d" providerId="LiveId" clId="{949EE33B-2B86-451D-801C-E387DC26B4B7}" dt="2023-10-18T04:13:36.197" v="19" actId="47"/>
          <pc:sldLayoutMkLst>
            <pc:docMk/>
            <pc:sldMasterMk cId="4208055795" sldId="2147483732"/>
            <pc:sldLayoutMk cId="568647623" sldId="2147483737"/>
          </pc:sldLayoutMkLst>
        </pc:sldLayoutChg>
        <pc:sldLayoutChg chg="del">
          <pc:chgData name="Reneli Gloria" userId="63748d1c5526478d" providerId="LiveId" clId="{949EE33B-2B86-451D-801C-E387DC26B4B7}" dt="2023-10-18T04:13:36.197" v="19" actId="47"/>
          <pc:sldLayoutMkLst>
            <pc:docMk/>
            <pc:sldMasterMk cId="4208055795" sldId="2147483732"/>
            <pc:sldLayoutMk cId="3294682586" sldId="2147483738"/>
          </pc:sldLayoutMkLst>
        </pc:sldLayoutChg>
        <pc:sldLayoutChg chg="del">
          <pc:chgData name="Reneli Gloria" userId="63748d1c5526478d" providerId="LiveId" clId="{949EE33B-2B86-451D-801C-E387DC26B4B7}" dt="2023-10-18T04:13:36.197" v="19" actId="47"/>
          <pc:sldLayoutMkLst>
            <pc:docMk/>
            <pc:sldMasterMk cId="4208055795" sldId="2147483732"/>
            <pc:sldLayoutMk cId="2417306781" sldId="2147483739"/>
          </pc:sldLayoutMkLst>
        </pc:sldLayoutChg>
        <pc:sldLayoutChg chg="del">
          <pc:chgData name="Reneli Gloria" userId="63748d1c5526478d" providerId="LiveId" clId="{949EE33B-2B86-451D-801C-E387DC26B4B7}" dt="2023-10-18T04:13:36.197" v="19" actId="47"/>
          <pc:sldLayoutMkLst>
            <pc:docMk/>
            <pc:sldMasterMk cId="4208055795" sldId="2147483732"/>
            <pc:sldLayoutMk cId="358322139" sldId="2147483740"/>
          </pc:sldLayoutMkLst>
        </pc:sldLayoutChg>
        <pc:sldLayoutChg chg="del">
          <pc:chgData name="Reneli Gloria" userId="63748d1c5526478d" providerId="LiveId" clId="{949EE33B-2B86-451D-801C-E387DC26B4B7}" dt="2023-10-18T04:13:36.197" v="19" actId="47"/>
          <pc:sldLayoutMkLst>
            <pc:docMk/>
            <pc:sldMasterMk cId="4208055795" sldId="2147483732"/>
            <pc:sldLayoutMk cId="3912043070" sldId="2147483741"/>
          </pc:sldLayoutMkLst>
        </pc:sldLayoutChg>
        <pc:sldLayoutChg chg="del">
          <pc:chgData name="Reneli Gloria" userId="63748d1c5526478d" providerId="LiveId" clId="{949EE33B-2B86-451D-801C-E387DC26B4B7}" dt="2023-10-18T04:13:36.197" v="19" actId="47"/>
          <pc:sldLayoutMkLst>
            <pc:docMk/>
            <pc:sldMasterMk cId="4208055795" sldId="2147483732"/>
            <pc:sldLayoutMk cId="1289928061" sldId="2147483742"/>
          </pc:sldLayoutMkLst>
        </pc:sldLayoutChg>
        <pc:sldLayoutChg chg="del">
          <pc:chgData name="Reneli Gloria" userId="63748d1c5526478d" providerId="LiveId" clId="{949EE33B-2B86-451D-801C-E387DC26B4B7}" dt="2023-10-18T04:13:36.197" v="19" actId="47"/>
          <pc:sldLayoutMkLst>
            <pc:docMk/>
            <pc:sldMasterMk cId="4208055795" sldId="2147483732"/>
            <pc:sldLayoutMk cId="3627936874" sldId="2147483743"/>
          </pc:sldLayoutMkLst>
        </pc:sldLayoutChg>
      </pc:sldMasterChg>
      <pc:sldMasterChg chg="del delSldLayout">
        <pc:chgData name="Reneli Gloria" userId="63748d1c5526478d" providerId="LiveId" clId="{949EE33B-2B86-451D-801C-E387DC26B4B7}" dt="2023-10-18T04:13:37.540" v="25" actId="47"/>
        <pc:sldMasterMkLst>
          <pc:docMk/>
          <pc:sldMasterMk cId="3934400340" sldId="2147483744"/>
        </pc:sldMasterMkLst>
        <pc:sldLayoutChg chg="del">
          <pc:chgData name="Reneli Gloria" userId="63748d1c5526478d" providerId="LiveId" clId="{949EE33B-2B86-451D-801C-E387DC26B4B7}" dt="2023-10-18T04:13:37.540" v="25" actId="47"/>
          <pc:sldLayoutMkLst>
            <pc:docMk/>
            <pc:sldMasterMk cId="3934400340" sldId="2147483744"/>
            <pc:sldLayoutMk cId="1172497737" sldId="2147483745"/>
          </pc:sldLayoutMkLst>
        </pc:sldLayoutChg>
        <pc:sldLayoutChg chg="del">
          <pc:chgData name="Reneli Gloria" userId="63748d1c5526478d" providerId="LiveId" clId="{949EE33B-2B86-451D-801C-E387DC26B4B7}" dt="2023-10-18T04:13:37.540" v="25" actId="47"/>
          <pc:sldLayoutMkLst>
            <pc:docMk/>
            <pc:sldMasterMk cId="3934400340" sldId="2147483744"/>
            <pc:sldLayoutMk cId="3519789251" sldId="2147483746"/>
          </pc:sldLayoutMkLst>
        </pc:sldLayoutChg>
        <pc:sldLayoutChg chg="del">
          <pc:chgData name="Reneli Gloria" userId="63748d1c5526478d" providerId="LiveId" clId="{949EE33B-2B86-451D-801C-E387DC26B4B7}" dt="2023-10-18T04:13:37.540" v="25" actId="47"/>
          <pc:sldLayoutMkLst>
            <pc:docMk/>
            <pc:sldMasterMk cId="3934400340" sldId="2147483744"/>
            <pc:sldLayoutMk cId="2560123545" sldId="2147483747"/>
          </pc:sldLayoutMkLst>
        </pc:sldLayoutChg>
        <pc:sldLayoutChg chg="del">
          <pc:chgData name="Reneli Gloria" userId="63748d1c5526478d" providerId="LiveId" clId="{949EE33B-2B86-451D-801C-E387DC26B4B7}" dt="2023-10-18T04:13:37.540" v="25" actId="47"/>
          <pc:sldLayoutMkLst>
            <pc:docMk/>
            <pc:sldMasterMk cId="3934400340" sldId="2147483744"/>
            <pc:sldLayoutMk cId="3778679560" sldId="2147483748"/>
          </pc:sldLayoutMkLst>
        </pc:sldLayoutChg>
        <pc:sldLayoutChg chg="del">
          <pc:chgData name="Reneli Gloria" userId="63748d1c5526478d" providerId="LiveId" clId="{949EE33B-2B86-451D-801C-E387DC26B4B7}" dt="2023-10-18T04:13:37.540" v="25" actId="47"/>
          <pc:sldLayoutMkLst>
            <pc:docMk/>
            <pc:sldMasterMk cId="3934400340" sldId="2147483744"/>
            <pc:sldLayoutMk cId="1805855678" sldId="2147483749"/>
          </pc:sldLayoutMkLst>
        </pc:sldLayoutChg>
        <pc:sldLayoutChg chg="del">
          <pc:chgData name="Reneli Gloria" userId="63748d1c5526478d" providerId="LiveId" clId="{949EE33B-2B86-451D-801C-E387DC26B4B7}" dt="2023-10-18T04:13:37.540" v="25" actId="47"/>
          <pc:sldLayoutMkLst>
            <pc:docMk/>
            <pc:sldMasterMk cId="3934400340" sldId="2147483744"/>
            <pc:sldLayoutMk cId="2723705957" sldId="2147483750"/>
          </pc:sldLayoutMkLst>
        </pc:sldLayoutChg>
        <pc:sldLayoutChg chg="del">
          <pc:chgData name="Reneli Gloria" userId="63748d1c5526478d" providerId="LiveId" clId="{949EE33B-2B86-451D-801C-E387DC26B4B7}" dt="2023-10-18T04:13:37.540" v="25" actId="47"/>
          <pc:sldLayoutMkLst>
            <pc:docMk/>
            <pc:sldMasterMk cId="3934400340" sldId="2147483744"/>
            <pc:sldLayoutMk cId="2148833401" sldId="2147483751"/>
          </pc:sldLayoutMkLst>
        </pc:sldLayoutChg>
        <pc:sldLayoutChg chg="del">
          <pc:chgData name="Reneli Gloria" userId="63748d1c5526478d" providerId="LiveId" clId="{949EE33B-2B86-451D-801C-E387DC26B4B7}" dt="2023-10-18T04:13:37.540" v="25" actId="47"/>
          <pc:sldLayoutMkLst>
            <pc:docMk/>
            <pc:sldMasterMk cId="3934400340" sldId="2147483744"/>
            <pc:sldLayoutMk cId="3320497719" sldId="2147483752"/>
          </pc:sldLayoutMkLst>
        </pc:sldLayoutChg>
        <pc:sldLayoutChg chg="del">
          <pc:chgData name="Reneli Gloria" userId="63748d1c5526478d" providerId="LiveId" clId="{949EE33B-2B86-451D-801C-E387DC26B4B7}" dt="2023-10-18T04:13:37.540" v="25" actId="47"/>
          <pc:sldLayoutMkLst>
            <pc:docMk/>
            <pc:sldMasterMk cId="3934400340" sldId="2147483744"/>
            <pc:sldLayoutMk cId="2095950713" sldId="2147483753"/>
          </pc:sldLayoutMkLst>
        </pc:sldLayoutChg>
        <pc:sldLayoutChg chg="del">
          <pc:chgData name="Reneli Gloria" userId="63748d1c5526478d" providerId="LiveId" clId="{949EE33B-2B86-451D-801C-E387DC26B4B7}" dt="2023-10-18T04:13:37.540" v="25" actId="47"/>
          <pc:sldLayoutMkLst>
            <pc:docMk/>
            <pc:sldMasterMk cId="3934400340" sldId="2147483744"/>
            <pc:sldLayoutMk cId="1773621483" sldId="2147483754"/>
          </pc:sldLayoutMkLst>
        </pc:sldLayoutChg>
        <pc:sldLayoutChg chg="del">
          <pc:chgData name="Reneli Gloria" userId="63748d1c5526478d" providerId="LiveId" clId="{949EE33B-2B86-451D-801C-E387DC26B4B7}" dt="2023-10-18T04:13:37.540" v="25" actId="47"/>
          <pc:sldLayoutMkLst>
            <pc:docMk/>
            <pc:sldMasterMk cId="3934400340" sldId="2147483744"/>
            <pc:sldLayoutMk cId="2250556907" sldId="2147483755"/>
          </pc:sldLayoutMkLst>
        </pc:sldLayoutChg>
      </pc:sldMasterChg>
      <pc:sldMasterChg chg="del delSldLayout">
        <pc:chgData name="Reneli Gloria" userId="63748d1c5526478d" providerId="LiveId" clId="{949EE33B-2B86-451D-801C-E387DC26B4B7}" dt="2023-10-18T04:13:39.040" v="33" actId="47"/>
        <pc:sldMasterMkLst>
          <pc:docMk/>
          <pc:sldMasterMk cId="3667807898" sldId="2147483756"/>
        </pc:sldMasterMkLst>
        <pc:sldLayoutChg chg="del">
          <pc:chgData name="Reneli Gloria" userId="63748d1c5526478d" providerId="LiveId" clId="{949EE33B-2B86-451D-801C-E387DC26B4B7}" dt="2023-10-18T04:13:39.040" v="33" actId="47"/>
          <pc:sldLayoutMkLst>
            <pc:docMk/>
            <pc:sldMasterMk cId="3667807898" sldId="2147483756"/>
            <pc:sldLayoutMk cId="866650507" sldId="2147483757"/>
          </pc:sldLayoutMkLst>
        </pc:sldLayoutChg>
        <pc:sldLayoutChg chg="del">
          <pc:chgData name="Reneli Gloria" userId="63748d1c5526478d" providerId="LiveId" clId="{949EE33B-2B86-451D-801C-E387DC26B4B7}" dt="2023-10-18T04:13:39.040" v="33" actId="47"/>
          <pc:sldLayoutMkLst>
            <pc:docMk/>
            <pc:sldMasterMk cId="3667807898" sldId="2147483756"/>
            <pc:sldLayoutMk cId="1295598516" sldId="2147483758"/>
          </pc:sldLayoutMkLst>
        </pc:sldLayoutChg>
        <pc:sldLayoutChg chg="del">
          <pc:chgData name="Reneli Gloria" userId="63748d1c5526478d" providerId="LiveId" clId="{949EE33B-2B86-451D-801C-E387DC26B4B7}" dt="2023-10-18T04:13:39.040" v="33" actId="47"/>
          <pc:sldLayoutMkLst>
            <pc:docMk/>
            <pc:sldMasterMk cId="3667807898" sldId="2147483756"/>
            <pc:sldLayoutMk cId="495464961" sldId="2147483759"/>
          </pc:sldLayoutMkLst>
        </pc:sldLayoutChg>
        <pc:sldLayoutChg chg="del">
          <pc:chgData name="Reneli Gloria" userId="63748d1c5526478d" providerId="LiveId" clId="{949EE33B-2B86-451D-801C-E387DC26B4B7}" dt="2023-10-18T04:13:39.040" v="33" actId="47"/>
          <pc:sldLayoutMkLst>
            <pc:docMk/>
            <pc:sldMasterMk cId="3667807898" sldId="2147483756"/>
            <pc:sldLayoutMk cId="474554191" sldId="2147483760"/>
          </pc:sldLayoutMkLst>
        </pc:sldLayoutChg>
        <pc:sldLayoutChg chg="del">
          <pc:chgData name="Reneli Gloria" userId="63748d1c5526478d" providerId="LiveId" clId="{949EE33B-2B86-451D-801C-E387DC26B4B7}" dt="2023-10-18T04:13:39.040" v="33" actId="47"/>
          <pc:sldLayoutMkLst>
            <pc:docMk/>
            <pc:sldMasterMk cId="3667807898" sldId="2147483756"/>
            <pc:sldLayoutMk cId="3006634527" sldId="2147483761"/>
          </pc:sldLayoutMkLst>
        </pc:sldLayoutChg>
        <pc:sldLayoutChg chg="del">
          <pc:chgData name="Reneli Gloria" userId="63748d1c5526478d" providerId="LiveId" clId="{949EE33B-2B86-451D-801C-E387DC26B4B7}" dt="2023-10-18T04:13:39.040" v="33" actId="47"/>
          <pc:sldLayoutMkLst>
            <pc:docMk/>
            <pc:sldMasterMk cId="3667807898" sldId="2147483756"/>
            <pc:sldLayoutMk cId="1321563800" sldId="2147483762"/>
          </pc:sldLayoutMkLst>
        </pc:sldLayoutChg>
        <pc:sldLayoutChg chg="del">
          <pc:chgData name="Reneli Gloria" userId="63748d1c5526478d" providerId="LiveId" clId="{949EE33B-2B86-451D-801C-E387DC26B4B7}" dt="2023-10-18T04:13:39.040" v="33" actId="47"/>
          <pc:sldLayoutMkLst>
            <pc:docMk/>
            <pc:sldMasterMk cId="3667807898" sldId="2147483756"/>
            <pc:sldLayoutMk cId="3725978185" sldId="2147483763"/>
          </pc:sldLayoutMkLst>
        </pc:sldLayoutChg>
        <pc:sldLayoutChg chg="del">
          <pc:chgData name="Reneli Gloria" userId="63748d1c5526478d" providerId="LiveId" clId="{949EE33B-2B86-451D-801C-E387DC26B4B7}" dt="2023-10-18T04:13:39.040" v="33" actId="47"/>
          <pc:sldLayoutMkLst>
            <pc:docMk/>
            <pc:sldMasterMk cId="3667807898" sldId="2147483756"/>
            <pc:sldLayoutMk cId="3654047144" sldId="2147483764"/>
          </pc:sldLayoutMkLst>
        </pc:sldLayoutChg>
        <pc:sldLayoutChg chg="del">
          <pc:chgData name="Reneli Gloria" userId="63748d1c5526478d" providerId="LiveId" clId="{949EE33B-2B86-451D-801C-E387DC26B4B7}" dt="2023-10-18T04:13:39.040" v="33" actId="47"/>
          <pc:sldLayoutMkLst>
            <pc:docMk/>
            <pc:sldMasterMk cId="3667807898" sldId="2147483756"/>
            <pc:sldLayoutMk cId="1868754652" sldId="2147483765"/>
          </pc:sldLayoutMkLst>
        </pc:sldLayoutChg>
        <pc:sldLayoutChg chg="del">
          <pc:chgData name="Reneli Gloria" userId="63748d1c5526478d" providerId="LiveId" clId="{949EE33B-2B86-451D-801C-E387DC26B4B7}" dt="2023-10-18T04:13:39.040" v="33" actId="47"/>
          <pc:sldLayoutMkLst>
            <pc:docMk/>
            <pc:sldMasterMk cId="3667807898" sldId="2147483756"/>
            <pc:sldLayoutMk cId="2291867739" sldId="2147483766"/>
          </pc:sldLayoutMkLst>
        </pc:sldLayoutChg>
        <pc:sldLayoutChg chg="del">
          <pc:chgData name="Reneli Gloria" userId="63748d1c5526478d" providerId="LiveId" clId="{949EE33B-2B86-451D-801C-E387DC26B4B7}" dt="2023-10-18T04:13:39.040" v="33" actId="47"/>
          <pc:sldLayoutMkLst>
            <pc:docMk/>
            <pc:sldMasterMk cId="3667807898" sldId="2147483756"/>
            <pc:sldLayoutMk cId="3148679093" sldId="2147483767"/>
          </pc:sldLayoutMkLst>
        </pc:sldLayoutChg>
      </pc:sldMasterChg>
      <pc:sldMasterChg chg="delSldLayout">
        <pc:chgData name="Reneli Gloria" userId="63748d1c5526478d" providerId="LiveId" clId="{949EE33B-2B86-451D-801C-E387DC26B4B7}" dt="2023-10-18T04:13:40.174" v="39" actId="47"/>
        <pc:sldMasterMkLst>
          <pc:docMk/>
          <pc:sldMasterMk cId="2138620341" sldId="2147483768"/>
        </pc:sldMasterMkLst>
        <pc:sldLayoutChg chg="del">
          <pc:chgData name="Reneli Gloria" userId="63748d1c5526478d" providerId="LiveId" clId="{949EE33B-2B86-451D-801C-E387DC26B4B7}" dt="2023-10-18T04:13:40.174" v="39" actId="47"/>
          <pc:sldLayoutMkLst>
            <pc:docMk/>
            <pc:sldMasterMk cId="2138620341" sldId="2147483768"/>
            <pc:sldLayoutMk cId="2639161306" sldId="2147483770"/>
          </pc:sldLayoutMkLst>
        </pc:sldLayoutChg>
        <pc:sldLayoutChg chg="del">
          <pc:chgData name="Reneli Gloria" userId="63748d1c5526478d" providerId="LiveId" clId="{949EE33B-2B86-451D-801C-E387DC26B4B7}" dt="2023-10-18T04:13:39.577" v="36" actId="47"/>
          <pc:sldLayoutMkLst>
            <pc:docMk/>
            <pc:sldMasterMk cId="2138620341" sldId="2147483768"/>
            <pc:sldLayoutMk cId="946898566" sldId="2147483771"/>
          </pc:sldLayoutMkLst>
        </pc:sldLayoutChg>
      </pc:sldMasterChg>
      <pc:sldMasterChg chg="del delSldLayout">
        <pc:chgData name="Reneli Gloria" userId="63748d1c5526478d" providerId="LiveId" clId="{949EE33B-2B86-451D-801C-E387DC26B4B7}" dt="2023-10-18T04:13:49.519" v="48" actId="47"/>
        <pc:sldMasterMkLst>
          <pc:docMk/>
          <pc:sldMasterMk cId="2423904253" sldId="2147483772"/>
        </pc:sldMasterMkLst>
        <pc:sldLayoutChg chg="del">
          <pc:chgData name="Reneli Gloria" userId="63748d1c5526478d" providerId="LiveId" clId="{949EE33B-2B86-451D-801C-E387DC26B4B7}" dt="2023-10-18T04:13:49.519" v="48" actId="47"/>
          <pc:sldLayoutMkLst>
            <pc:docMk/>
            <pc:sldMasterMk cId="2423904253" sldId="2147483772"/>
            <pc:sldLayoutMk cId="699933166" sldId="2147483773"/>
          </pc:sldLayoutMkLst>
        </pc:sldLayoutChg>
        <pc:sldLayoutChg chg="del">
          <pc:chgData name="Reneli Gloria" userId="63748d1c5526478d" providerId="LiveId" clId="{949EE33B-2B86-451D-801C-E387DC26B4B7}" dt="2023-10-18T04:13:49.519" v="48" actId="47"/>
          <pc:sldLayoutMkLst>
            <pc:docMk/>
            <pc:sldMasterMk cId="2423904253" sldId="2147483772"/>
            <pc:sldLayoutMk cId="3807363" sldId="2147483774"/>
          </pc:sldLayoutMkLst>
        </pc:sldLayoutChg>
        <pc:sldLayoutChg chg="del">
          <pc:chgData name="Reneli Gloria" userId="63748d1c5526478d" providerId="LiveId" clId="{949EE33B-2B86-451D-801C-E387DC26B4B7}" dt="2023-10-18T04:13:49.519" v="48" actId="47"/>
          <pc:sldLayoutMkLst>
            <pc:docMk/>
            <pc:sldMasterMk cId="2423904253" sldId="2147483772"/>
            <pc:sldLayoutMk cId="1210598038" sldId="2147483775"/>
          </pc:sldLayoutMkLst>
        </pc:sldLayoutChg>
        <pc:sldLayoutChg chg="del">
          <pc:chgData name="Reneli Gloria" userId="63748d1c5526478d" providerId="LiveId" clId="{949EE33B-2B86-451D-801C-E387DC26B4B7}" dt="2023-10-18T04:13:49.519" v="48" actId="47"/>
          <pc:sldLayoutMkLst>
            <pc:docMk/>
            <pc:sldMasterMk cId="2423904253" sldId="2147483772"/>
            <pc:sldLayoutMk cId="2791560434" sldId="2147483776"/>
          </pc:sldLayoutMkLst>
        </pc:sldLayoutChg>
        <pc:sldLayoutChg chg="del">
          <pc:chgData name="Reneli Gloria" userId="63748d1c5526478d" providerId="LiveId" clId="{949EE33B-2B86-451D-801C-E387DC26B4B7}" dt="2023-10-18T04:13:49.519" v="48" actId="47"/>
          <pc:sldLayoutMkLst>
            <pc:docMk/>
            <pc:sldMasterMk cId="2423904253" sldId="2147483772"/>
            <pc:sldLayoutMk cId="2459071318" sldId="2147483777"/>
          </pc:sldLayoutMkLst>
        </pc:sldLayoutChg>
        <pc:sldLayoutChg chg="del">
          <pc:chgData name="Reneli Gloria" userId="63748d1c5526478d" providerId="LiveId" clId="{949EE33B-2B86-451D-801C-E387DC26B4B7}" dt="2023-10-18T04:13:49.519" v="48" actId="47"/>
          <pc:sldLayoutMkLst>
            <pc:docMk/>
            <pc:sldMasterMk cId="2423904253" sldId="2147483772"/>
            <pc:sldLayoutMk cId="3691368434" sldId="2147483778"/>
          </pc:sldLayoutMkLst>
        </pc:sldLayoutChg>
        <pc:sldLayoutChg chg="del">
          <pc:chgData name="Reneli Gloria" userId="63748d1c5526478d" providerId="LiveId" clId="{949EE33B-2B86-451D-801C-E387DC26B4B7}" dt="2023-10-18T04:13:49.519" v="48" actId="47"/>
          <pc:sldLayoutMkLst>
            <pc:docMk/>
            <pc:sldMasterMk cId="2423904253" sldId="2147483772"/>
            <pc:sldLayoutMk cId="3318787220" sldId="2147483779"/>
          </pc:sldLayoutMkLst>
        </pc:sldLayoutChg>
        <pc:sldLayoutChg chg="del">
          <pc:chgData name="Reneli Gloria" userId="63748d1c5526478d" providerId="LiveId" clId="{949EE33B-2B86-451D-801C-E387DC26B4B7}" dt="2023-10-18T04:13:49.519" v="48" actId="47"/>
          <pc:sldLayoutMkLst>
            <pc:docMk/>
            <pc:sldMasterMk cId="2423904253" sldId="2147483772"/>
            <pc:sldLayoutMk cId="1331129016" sldId="2147483780"/>
          </pc:sldLayoutMkLst>
        </pc:sldLayoutChg>
        <pc:sldLayoutChg chg="del">
          <pc:chgData name="Reneli Gloria" userId="63748d1c5526478d" providerId="LiveId" clId="{949EE33B-2B86-451D-801C-E387DC26B4B7}" dt="2023-10-18T04:13:49.519" v="48" actId="47"/>
          <pc:sldLayoutMkLst>
            <pc:docMk/>
            <pc:sldMasterMk cId="2423904253" sldId="2147483772"/>
            <pc:sldLayoutMk cId="3286456180" sldId="2147483781"/>
          </pc:sldLayoutMkLst>
        </pc:sldLayoutChg>
        <pc:sldLayoutChg chg="del">
          <pc:chgData name="Reneli Gloria" userId="63748d1c5526478d" providerId="LiveId" clId="{949EE33B-2B86-451D-801C-E387DC26B4B7}" dt="2023-10-18T04:13:49.519" v="48" actId="47"/>
          <pc:sldLayoutMkLst>
            <pc:docMk/>
            <pc:sldMasterMk cId="2423904253" sldId="2147483772"/>
            <pc:sldLayoutMk cId="3266111334" sldId="2147483782"/>
          </pc:sldLayoutMkLst>
        </pc:sldLayoutChg>
        <pc:sldLayoutChg chg="del">
          <pc:chgData name="Reneli Gloria" userId="63748d1c5526478d" providerId="LiveId" clId="{949EE33B-2B86-451D-801C-E387DC26B4B7}" dt="2023-10-18T04:13:49.519" v="48" actId="47"/>
          <pc:sldLayoutMkLst>
            <pc:docMk/>
            <pc:sldMasterMk cId="2423904253" sldId="2147483772"/>
            <pc:sldLayoutMk cId="782387629" sldId="2147483783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4CFB38-6245-594B-9442-3B6DEE6314D2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A73AFE-DE6E-C346-93AB-C81048145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761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73AFE-DE6E-C346-93AB-C81048145E3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591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A6F916-C28C-ED45-811A-744DB773F3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81899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A6F916-C28C-ED45-811A-744DB773F3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78780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06363" y="750888"/>
            <a:ext cx="6665912" cy="3749675"/>
          </a:xfrm>
          <a:ln/>
        </p:spPr>
      </p:sp>
      <p:sp>
        <p:nvSpPr>
          <p:cNvPr id="16387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83464" marR="0" indent="-283464" algn="l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ru" sz="1200" b="0" i="0" u="none" strike="noStrike">
                <a:effectLst/>
                <a:latin typeface="Arial" panose="020B0604020202020204" pitchFamily="34" charset="0"/>
              </a:rPr>
              <a:t>VisitSilkRoad является важным инструментом для обмена знаниями, информацией и направления туристов в регион </a:t>
            </a:r>
            <a:r>
              <a:rPr lang="ru" sz="1200" b="0" i="0" u="none" strike="noStrike" err="1">
                <a:effectLst/>
                <a:latin typeface="Arial" panose="020B0604020202020204" pitchFamily="34" charset="0"/>
              </a:rPr>
              <a:t>.</a:t>
            </a:r>
          </a:p>
          <a:p>
            <a:pPr marL="283464" marR="0" indent="-283464" algn="l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200" b="0" i="0" u="none" strike="noStrike">
              <a:effectLst/>
              <a:latin typeface="Arial" panose="020B0604020202020204" pitchFamily="34" charset="0"/>
            </a:endParaRPr>
          </a:p>
          <a:p>
            <a:pPr marL="283464" marR="0" indent="-283464" algn="l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ru" sz="1200" b="0" i="0" u="none" strike="noStrike">
                <a:effectLst/>
                <a:latin typeface="Arial" panose="020B0604020202020204" pitchFamily="34" charset="0"/>
              </a:rPr>
              <a:t>Будущая деятельность, включая программы по наращиванию потенциала, будет поддерживать и продвигать местный частный сектор и туристические агентства из стран ЦАРЭС для развития навыков и потенциала в предоставлении устойчивых услуг и перехода к зеленой экономике.</a:t>
            </a:r>
            <a:endParaRPr lang="es-ES"/>
          </a:p>
        </p:txBody>
      </p:sp>
      <p:sp>
        <p:nvSpPr>
          <p:cNvPr id="16388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60112" indent="-29235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69403" indent="-2338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37165" indent="-2338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04926" indent="-2338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72687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40449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508210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75971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326C9A-5174-4336-9165-28728E896E95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97506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A6F916-C28C-ED45-811A-744DB773F3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5712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A6F916-C28C-ED45-811A-744DB773F3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26553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5BC0FA-6C09-CD4C-A292-2743B3F045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17871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5BC0FA-6C09-CD4C-A292-2743B3F045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00231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73AFE-DE6E-C346-93AB-C81048145E3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44896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73AFE-DE6E-C346-93AB-C81048145E3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286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73AFE-DE6E-C346-93AB-C81048145E3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9443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73AFE-DE6E-C346-93AB-C81048145E3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7937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73AFE-DE6E-C346-93AB-C81048145E3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8784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A73AFE-DE6E-C346-93AB-C81048145E3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24711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1AAE0B-E3A9-415E-BF9D-35A66B2C4B2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384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890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" name="Date Placeholder 5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DB5491-2ACB-73E5-A511-220F6E51B6A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iff"/><Relationship Id="rId2" Type="http://schemas.openxmlformats.org/officeDocument/2006/relationships/image" Target="../media/image12.tiff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934EAE-B782-3A02-BBB5-33BC822246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C05EE9-0E47-AB86-B047-4581C49BCA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1316BD-4956-3617-51E3-18911F7B92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65B14-648D-4542-82A9-90524AA7562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1EBBF9-A310-36E6-037F-D56733AAAD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AEF843-C306-673C-E082-910AD3B4C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944EC-F883-FE4B-9E36-DA62B74FD091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EE5A3C5-CEA8-861D-8CE2-BE34A5B6F4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19930" y="5063219"/>
            <a:ext cx="1633870" cy="1658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7037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3D8A5C-1576-7736-F5CC-CD0AC4A325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71F9A0-C805-4BB7-A717-F04A0E27E1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B04A06-E20D-B446-4561-6702EBA7D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65B14-648D-4542-82A9-90524AA7562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374394-A5E8-E623-DD78-BC0A4CB480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69A3F0-4FD5-812D-1CCF-90544ECE4A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944EC-F883-FE4B-9E36-DA62B74FD0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1994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C24E5BC-20C2-C7EE-69D7-8588D4E94EA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24E7E32-C235-0EFD-1B9C-A6BE956217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CAA282-043E-2CEA-C4B7-57D38667F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65B14-648D-4542-82A9-90524AA7562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4756C8-ABE7-6329-DD31-43F63135C7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9EE59A-184B-ECCF-0284-6E6E5D4991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944EC-F883-FE4B-9E36-DA62B74FD0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5091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5">
            <a:extLst>
              <a:ext uri="{FF2B5EF4-FFF2-40B4-BE49-F238E27FC236}">
                <a16:creationId xmlns:a16="http://schemas.microsoft.com/office/drawing/2014/main" id="{0DB6712F-B365-DA4E-9CA0-74F337434899}"/>
              </a:ext>
            </a:extLst>
          </p:cNvPr>
          <p:cNvSpPr txBox="1"/>
          <p:nvPr userDrawn="1"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58C7E3-76A5-0A4C-8984-F8DFF11A98F5}"/>
              </a:ext>
            </a:extLst>
          </p:cNvPr>
          <p:cNvSpPr/>
          <p:nvPr userDrawn="1"/>
        </p:nvSpPr>
        <p:spPr>
          <a:xfrm>
            <a:off x="1236134" y="6289666"/>
            <a:ext cx="971973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nal Project Team Presentation 18.03.2022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B847656-5D52-9A4B-B1EB-E2E8AE0F4EF9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5FD1140-DA54-8347-AFA1-BDF7FE506B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968EF2-CDB3-C347-8A50-E693D12EC8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018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6B17F-E662-42AE-A846-43CBFE549161}" type="datetime3">
              <a:rPr lang="en-US" smtClean="0"/>
              <a:t>18 October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1FF6008-B0FE-8BBC-DBDB-F68AF218920C}"/>
              </a:ext>
            </a:extLst>
          </p:cNvPr>
          <p:cNvPicPr/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7853" y="447318"/>
            <a:ext cx="1315947" cy="12376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076013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0D14AF-BDE1-4B39-9433-C492546FC402}" type="datetime3">
              <a:rPr lang="en-US" smtClean="0"/>
              <a:t>18 October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E47BB-7310-46D8-81F3-6ABCEF98FE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6986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E5BD47-CA0C-49A6-948F-4C71714757B1}" type="datetime3">
              <a:rPr lang="en-US" smtClean="0"/>
              <a:t>18 October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E47BB-7310-46D8-81F3-6ABCEF98FE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99087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810BAC-2006-4141-9F3D-D0F2957380CB}" type="datetime3">
              <a:rPr lang="en-US" smtClean="0"/>
              <a:t>18 October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E47BB-7310-46D8-81F3-6ABCEF98FE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27760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188DD-E3DC-4485-8B4C-F71A311F9AE2}" type="datetime3">
              <a:rPr lang="en-US" smtClean="0"/>
              <a:t>18 October 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E47BB-7310-46D8-81F3-6ABCEF98FE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3543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8AF046-9E7B-40FA-9B83-7C6D40E68915}" type="datetime3">
              <a:rPr lang="en-US" smtClean="0"/>
              <a:t>18 October 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E47BB-7310-46D8-81F3-6ABCEF98FE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110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86394F-AF20-48FB-995D-F6F374E9163A}" type="datetime3">
              <a:rPr lang="en-US" smtClean="0"/>
              <a:t>18 October 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E47BB-7310-46D8-81F3-6ABCEF98FE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2838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938108-615E-AC6A-EEC7-427C96FD2B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3ACD0C-E875-D379-CB20-2BBAD5250D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4E3EBF-0536-E560-C5C9-C9E0F6966C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65B14-648D-4542-82A9-90524AA7562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54C4A2-0EDA-4212-29D8-53489F0B2F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5C6060-2C29-A420-F909-C124DE3E9D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944EC-F883-FE4B-9E36-DA62B74FD091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112AE64-DDBF-5A47-C6E4-AFBDE6CEBA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51219" y="223610"/>
            <a:ext cx="1176752" cy="1198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8810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C056A-8FBA-4420-94E0-2CB2BC26140F}" type="datetime3">
              <a:rPr lang="en-US" smtClean="0"/>
              <a:t>18 October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E47BB-7310-46D8-81F3-6ABCEF98FE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5169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96D3-D707-459E-BA1E-4A45FDAF4D5D}" type="datetime3">
              <a:rPr lang="en-US" smtClean="0"/>
              <a:t>18 October 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E47BB-7310-46D8-81F3-6ABCEF98FE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84594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EFA2B5-4CB1-4B35-9267-24BC8BC64510}" type="datetime3">
              <a:rPr lang="en-US" smtClean="0"/>
              <a:t>18 October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E47BB-7310-46D8-81F3-6ABCEF98FE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9484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B8939-2D12-42D8-88D2-F616CBF57EBC}" type="datetime3">
              <a:rPr lang="en-US" smtClean="0"/>
              <a:t>18 October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E47BB-7310-46D8-81F3-6ABCEF98FE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7114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88774B-C016-0615-170C-DDE6831D43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3E9901F-8EC6-D157-67B5-BC4370D8DD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ADEA7-5C00-3740-20D7-79F4E7A060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0C4D27-6936-454D-B7AA-9406196C7A21}" type="datetime3">
              <a:rPr lang="en-US" smtClean="0"/>
              <a:t>18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6EBFF9-87E5-C1EE-296B-76B8205361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C08D07-96CE-BF30-5DC1-712B7C948C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10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F8DB57-AEE3-D6A0-5790-889BCEBDC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BEFE88-5855-511D-5085-C5751D2446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756583-2DDB-16E4-F67E-8401B22AF2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D6509-DE6D-4882-894F-4CD3224C60A6}" type="datetime3">
              <a:rPr lang="en-US" smtClean="0"/>
              <a:t>18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39074E-BFE2-0CB4-52EC-689C75AB2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334685-693A-ED1A-8B41-E10223F9CD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2735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4C01D5-BDE7-BB59-4E8B-32D095557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975A04-C7AE-AAC1-CD4D-8BFB62A136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EE11CA-659E-128B-F241-E3A2F2C18B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FF7CA-907C-4625-A1F2-09CB84311D5F}" type="datetime3">
              <a:rPr lang="en-US" smtClean="0"/>
              <a:t>18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3DF0C9-0252-AE54-7991-66619ACC9B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B79199-BF7F-BFCE-5576-37C4F90D6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5500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83F972-6FA3-11AA-BFFD-12F1BFB5D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03BAFC-7AC1-F41D-BCB8-0A761271D61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858D54-2FF5-93A1-60C2-2379B72B58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742E2C-1641-9337-8134-F17AFD7F44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09EA0-2CA3-4E8A-8A69-F5DE2314DEF8}" type="datetime3">
              <a:rPr lang="en-US" smtClean="0"/>
              <a:t>18 October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214C4E-3977-B93B-A581-8527F0FF76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ACAC20-F22F-479D-901A-E6C66F44B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4948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E2C891-06D7-8A73-02A2-7CD36BBF6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C87C79-F1D6-6808-0CD3-5C3D0E19A8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CE44657-EE53-DE98-BF62-052351681F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D63B12-5C6A-F70F-9CBD-A30E49935B3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129C3AD-E095-EBC7-4C49-BEE7C0DE12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056D7E0-7221-EDF8-769C-6C4F30768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EDCC79-2397-40A1-AC94-CD50A47DBC97}" type="datetime3">
              <a:rPr lang="en-US" smtClean="0"/>
              <a:t>18 October 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356738-3534-309A-CFB1-EFC7B76A1D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BE373A-664A-164C-9D26-74F28127F7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4180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CEB006-5416-5BA6-A01E-ACB786D662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9E220A-27D2-1FFF-EBD9-E39415CDE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564C31-4B45-4415-B826-9261B13F08DF}" type="datetime3">
              <a:rPr lang="en-US" smtClean="0"/>
              <a:t>18 October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665164-EDBD-F2FF-CB01-73230BF94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E930A0-9129-0310-9454-49D48C4C04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858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608920-24E7-3E68-CE03-B94E5295F9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DBE33-9BAA-5446-7776-164E3BE0BB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7540D9-3CB5-55C4-A245-07CF825AA6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65B14-648D-4542-82A9-90524AA7562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1D83C1-7268-066F-2F5A-7E11E249F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6A80F1-9EA5-F7A8-075E-DF172243F3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944EC-F883-FE4B-9E36-DA62B74FD0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2372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7CA6BF-E3F5-C3C4-7387-C768C02A4B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E5FC7-7AD9-4A97-A700-770C791A9B06}" type="datetime3">
              <a:rPr lang="en-US" smtClean="0"/>
              <a:t>18 October 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CA89D8-293E-5944-6DF7-BFEFAC570A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853CDD-E788-B5C7-BF40-49411F4AD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5168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9CED15-4899-2AD1-451F-6F6B11F322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549F60-50E6-E35D-8C51-02E97907BD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01DBA3-8E1D-A0B4-D97A-FB086619A9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A06284-EB7D-9695-D83E-F554E23C01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0228C3-3F9B-4F38-ACB7-DFAC9941F91A}" type="datetime3">
              <a:rPr lang="en-US" smtClean="0"/>
              <a:t>18 October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83008A-32E7-085F-E478-834441636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D160DD-7FA8-ECFD-985F-AFA798A7D9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53431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E054FE-85D7-03BC-444C-FE38988ADA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B9D08FE-7BD8-5D49-14A2-C1FAC1C12D9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751DB9-BEA8-944D-931D-9B5C72C800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8948EB-21D6-68DB-3B65-A9CD07DF7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86EE28-B83F-4E5D-A2F5-6F6883813283}" type="datetime3">
              <a:rPr lang="en-US" smtClean="0"/>
              <a:t>18 October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784A90-38E1-1352-2D02-B1CEB17544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84B2EC-7C10-D81B-8375-A5998125C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0227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E8FA6C-594B-D57E-62E9-6B9D02DA3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4E4A5E-EC7D-995F-C106-27BCF125CD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E264C4-24E9-379F-BC7D-65F1F1F848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0B376-34C5-4D20-8A01-A21928DB3A20}" type="datetime3">
              <a:rPr lang="en-US" smtClean="0"/>
              <a:t>18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191778-D797-9F65-019C-A6EEAFBD07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4A69E1-C847-07D5-007B-79FA9A02E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72312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E78D75C-99BA-AB71-16F6-2F6A619E339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8617717-9374-DC70-E025-0F8A7A4AB6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2EC3A7-D38E-300E-F1B2-0F40D001E3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C163D7-2155-4054-88D0-296BB598112C}" type="datetime3">
              <a:rPr lang="en-US" smtClean="0"/>
              <a:t>18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A132CD-7823-6D9C-357C-D8E5145AF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A0E0EA-DEFD-7A6B-C1D5-A4F74AE4F6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5118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403F0A-5E8F-09B9-4203-7D2972EA98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985ABC-1918-A7E0-BFB3-36093F1793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832454-3FAA-EAA0-1404-E9A14D7CD5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7B52D3-1976-477B-BA83-1A9EF7FC3ED7}" type="datetimeFigureOut">
              <a:rPr lang="en-US" smtClean="0"/>
              <a:pPr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31D1CE-C941-1B9E-989A-4FC49AD1D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F8FDF0-2FC8-D28A-9909-B6F9759BF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9EB417-1929-41A2-A6F3-37D8F87A49F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 descr="Background pattern&#10;&#10;Description automatically generated">
            <a:extLst>
              <a:ext uri="{FF2B5EF4-FFF2-40B4-BE49-F238E27FC236}">
                <a16:creationId xmlns:a16="http://schemas.microsoft.com/office/drawing/2014/main" id="{D3A02587-17B9-6161-F68A-8046EC4FCA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3255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F66B05-7862-E345-4827-20D9D229E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489DCA-14C1-0514-C720-F3F83A5EE3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F993FC-1D18-A478-E0F1-37238D0F21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7B52D3-1976-477B-BA83-1A9EF7FC3ED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10CB29-0E34-8A49-6D9D-6F8A4CB08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D61242-8AF3-9FB4-6261-75BB1789D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EB417-1929-41A2-A6F3-37D8F87A4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2908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7DC8DE-811A-E9F6-BF24-8D1EA8F39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4B9BF8-83A9-C1C9-7ABB-FDD68F1748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D73114-7895-19E9-3257-E6598CE207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7B52D3-1976-477B-BA83-1A9EF7FC3ED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DE59AE-2B7F-8795-24A3-9E1E857C83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641E87-95AC-FD05-0A2E-CB97BE2FF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EB417-1929-41A2-A6F3-37D8F87A4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5598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81B4FD-960F-4CA5-DB6D-5DD1647D6A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B2C079-973C-8407-A7CC-85A658917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AFA6E7-3F2B-B0C8-3A7D-7D6B641B00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680F50-8CE9-A69A-4DD0-D0161C8F75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7B52D3-1976-477B-BA83-1A9EF7FC3ED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E2BAC55-2A15-1177-648B-2591C8300A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B0E676-FD7E-EAF6-6782-9F0123D463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EB417-1929-41A2-A6F3-37D8F87A4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98887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68FD6-8907-BC42-4089-3BF245C991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1755F1-EBDD-F215-EB21-49A47E4E79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46E1D0-0388-407D-E713-10C0D8DA9C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651285-D863-F8A6-3356-D48791F5C7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11AEC16-B241-B157-5BA7-D1806146A3F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981511-80B2-6054-FB27-9116A110F5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7B52D3-1976-477B-BA83-1A9EF7FC3ED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C61821F-FD97-98A9-E43F-EC5294D045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0E41D5-96EB-451D-0F01-27A51848D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EB417-1929-41A2-A6F3-37D8F87A4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55499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A94585-0D50-BBA8-4794-448D0DC671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20EC57-2E32-C82D-EEF3-B152BB1C11A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C90036-5B3F-51E1-10B2-826E5A7BAD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B45142-7A6C-F750-3F95-B127788B3F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65B14-648D-4542-82A9-90524AA7562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1F1047-541A-18A4-E484-8A4B1C587D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420E57-E9B9-3F2B-1B5F-D3D154E137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944EC-F883-FE4B-9E36-DA62B74FD0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35300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D27F00-84DE-DFDF-037F-93FD1722D2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FB9256-D667-677F-AD5C-7786B9B82F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7B52D3-1976-477B-BA83-1A9EF7FC3ED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E05612-4702-3BDC-2C02-EEB45D3322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C6CA78-9C33-F582-52DD-1B30365490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EB417-1929-41A2-A6F3-37D8F87A4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9570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5FC4070-3C7D-74D8-E8FA-EE31B73C2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7B52D3-1976-477B-BA83-1A9EF7FC3ED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1A41B6-CEE4-B050-F9BA-99DF5E144F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DD8DA8-69F2-7E5C-1227-EE75C5FD1C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EB417-1929-41A2-A6F3-37D8F87A4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5412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429268-F086-8287-25BA-B044D315A5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71492F-F3F3-982A-2B54-35355CB82F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C931471-3002-423D-9FB8-AB782B3C29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A03875-6013-3499-122F-210159DB75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7B52D3-1976-477B-BA83-1A9EF7FC3ED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3DA587-5AF8-7328-711C-4DCBE09BDA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B8CC54-5C66-5F8F-9C89-CE8C52E393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EB417-1929-41A2-A6F3-37D8F87A4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7376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6D9A4-15E5-0E8A-91CD-58043923C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F2FD76-B69E-1F04-8006-58DD4A30B6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8D8832-E791-9D6A-9CA3-8536A89FCF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FE4388-84F8-0364-CE2F-58AE197A6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7B52D3-1976-477B-BA83-1A9EF7FC3ED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E72FDC-5C59-5848-822D-0C1C037070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7DBCAF-8966-E915-20B8-6C1398288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EB417-1929-41A2-A6F3-37D8F87A4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690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76261B-5FB6-2EF3-3F1C-B0B76A6DA7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FF1F21-F880-5BC5-34D2-2B39985F4F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9F0404-CE6B-48C6-3D73-2B2282DCFD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7B52D3-1976-477B-BA83-1A9EF7FC3ED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BF854B-D725-9BDC-586C-67C48D211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EF04ED-1577-9FF7-C229-62FF19427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EB417-1929-41A2-A6F3-37D8F87A4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80829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E08D169-EBFC-3DDC-3206-75307F1653C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239EC95-3779-573D-AAA0-48B673A6D2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5A255F-BB38-3994-5B90-811DFEDB0E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7B52D3-1976-477B-BA83-1A9EF7FC3ED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83C9D7-BAB8-6BA6-2C42-306FFE3B77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0BD2F4-9CF6-83CB-1B96-BC12680B9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EB417-1929-41A2-A6F3-37D8F87A4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09791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5">
            <a:extLst>
              <a:ext uri="{FF2B5EF4-FFF2-40B4-BE49-F238E27FC236}">
                <a16:creationId xmlns:a16="http://schemas.microsoft.com/office/drawing/2014/main" id="{0DB6712F-B365-DA4E-9CA0-74F337434899}"/>
              </a:ext>
            </a:extLst>
          </p:cNvPr>
          <p:cNvSpPr txBox="1"/>
          <p:nvPr userDrawn="1"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58C7E3-76A5-0A4C-8984-F8DFF11A98F5}"/>
              </a:ext>
            </a:extLst>
          </p:cNvPr>
          <p:cNvSpPr/>
          <p:nvPr userDrawn="1"/>
        </p:nvSpPr>
        <p:spPr>
          <a:xfrm>
            <a:off x="1236134" y="6289666"/>
            <a:ext cx="971973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nal Project Team Presentation 18.03.2022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B847656-5D52-9A4B-B1EB-E2E8AE0F4EF9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5FD1140-DA54-8347-AFA1-BDF7FE506B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968EF2-CDB3-C347-8A50-E693D12EC8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6071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27D8F-5BE9-4D23-9631-D6C9872ABB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CE30A21-199D-41AE-986B-912EEC5C15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84E13F-3AC2-449B-95DD-FFF97B14C5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C1636-BFF2-4E35-8CF1-9054137052FA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D36630-6B32-4077-B5CD-056373AE0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2AA0D3-6DEB-4D29-92D4-105C2A09BA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983321-851B-4985-8465-6B8C616931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63895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5">
            <a:extLst>
              <a:ext uri="{FF2B5EF4-FFF2-40B4-BE49-F238E27FC236}">
                <a16:creationId xmlns:a16="http://schemas.microsoft.com/office/drawing/2014/main" id="{411BC9A1-A8EA-CB48-B8C4-1FD68188BB04}"/>
              </a:ext>
            </a:extLst>
          </p:cNvPr>
          <p:cNvSpPr txBox="1"/>
          <p:nvPr userDrawn="1"/>
        </p:nvSpPr>
        <p:spPr>
          <a:xfrm>
            <a:off x="11296063" y="6424049"/>
            <a:ext cx="356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100" b="0" smtClean="0">
                <a:solidFill>
                  <a:srgbClr val="566367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de-DE" sz="1100" b="0">
              <a:solidFill>
                <a:srgbClr val="56636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A0F2D5-55C5-2A4D-806D-5B4E679ACF90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816FB951-A042-0F4E-9E81-F0E653F69E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9841" y="61196"/>
            <a:ext cx="804033" cy="6030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5C1D184-89CC-7D44-9A21-2F4F6910D1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127" y="61196"/>
            <a:ext cx="734623" cy="550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82375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3B9EB5-DACB-C1AC-BEA7-6D7E08C266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DBE10B-DD63-85E7-00C6-D418609EC7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DE2367-B49D-F5D0-1348-2BCF319141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31E36E-9BC0-3D4E-B45D-94CAE0C42F49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969821-D936-0382-9B63-55266A0B13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DE0301-EFC5-BD6A-684C-5CE9CEFD96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96B584-57BB-6941-AE22-C5A78F7F98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3601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4DE330-E2E9-B1BA-C5C6-42FEA516B6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3A95F5-72D1-98E0-2EAE-B664A0B9E2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EC65890-D4E1-D3F5-4BFC-DC292EDCF64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60B29AF-D147-914E-0C82-C783E553F4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89D796-5974-C7D7-4894-29E65BBD6F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A933D35-8586-9737-5134-D8516885E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65B14-648D-4542-82A9-90524AA7562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7C80E57-5D34-480D-647B-5634BD2E09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0A18DF-B1B3-E1E2-F929-4C93ED4C5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944EC-F883-FE4B-9E36-DA62B74FD0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7520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FD646D-415E-7151-673D-CABDEE091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A1FD59-8593-1E13-FFEB-AE10CC16C8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D26CC1-3374-3879-8E35-B6B0AE9BEA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31E36E-9BC0-3D4E-B45D-94CAE0C42F49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3C92A6-C34D-93F9-E73D-19B7BBF6D9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3091F0-CB95-D48A-D560-E1B1F2C0BF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96B584-57BB-6941-AE22-C5A78F7F98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34602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65E61D-2E7D-CB13-73F1-CFFEC2492F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11CBD5-E9F1-0A66-1E45-B0B245FD4C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010E91-8153-7668-3A5B-14DC7DE597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31E36E-9BC0-3D4E-B45D-94CAE0C42F49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AB0B78-DA65-40C1-9E12-4FF4E276B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779EF-04AF-8D14-3770-57968EB57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96B584-57BB-6941-AE22-C5A78F7F98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89931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AACA4-E5C8-4499-9580-AB2A2E26CD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3F0990-B2BC-8D7D-63B1-F74E03B0F4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3FB84B-594A-02CD-EEA7-19DD527843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03121E-052C-14B9-2D16-E0551F81F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31E36E-9BC0-3D4E-B45D-94CAE0C42F49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426FFD-73F3-CCDF-3ECB-885A9DACE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A6CA2A-42EA-0D59-135E-C930582D8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96B584-57BB-6941-AE22-C5A78F7F98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11445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D0273-0510-7F1A-D229-CBF1B3171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65F5E9-5430-815A-8796-AB06CA33A7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DDEAA2-A42B-F31C-4CB2-A7CF9591AD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04AD6F-0F70-6D28-CD39-601526F799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8CD4C71-07A7-2C0B-ACEF-E86B7B46FFF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71B9585-84D4-1D2E-B52D-84BCD61A32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31E36E-9BC0-3D4E-B45D-94CAE0C42F49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AC7C8E-6CE8-DF56-09CD-F397578D0C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BFCD89D-AFEA-CECF-3187-A37D6CBDDA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96B584-57BB-6941-AE22-C5A78F7F98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71070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AE8196-892C-4332-DF38-D023475CF2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DEFFD48-0478-BA23-139C-2E48B84126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31E36E-9BC0-3D4E-B45D-94CAE0C42F49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E5A7FA-6ACA-765D-AECC-D9C475861C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AD8F8F-81D3-F92F-8C98-CDA5F9383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96B584-57BB-6941-AE22-C5A78F7F98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45960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4A0099-0AC7-D091-92E5-EA95DC46B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31E36E-9BC0-3D4E-B45D-94CAE0C42F49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A76888-2915-E108-5482-EB3E1315F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6572E2-DF98-9746-7617-2135685ECB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96B584-57BB-6941-AE22-C5A78F7F98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01240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9E1BDB-A2B3-C71E-072B-8135DD74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3BC4DD-2C59-C6A2-CF4F-5F642D6EE6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14C08E-0884-021C-0A40-F395991BAE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1CDE6D-1168-50FE-C565-0A507A72CE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31E36E-9BC0-3D4E-B45D-94CAE0C42F49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AD9795-C636-2FF0-BD7F-5D2D83841B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C7929E-2901-31B0-000C-213E10F96F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96B584-57BB-6941-AE22-C5A78F7F98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01931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EB86CA-9194-8A3E-1C6F-2F23DE98CB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B6E7703-2F97-6A81-2F7E-A483277D3D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AEFF68-1D64-10B5-F800-CBD06A2D61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2A476B-031D-1DDE-3F43-25F58F61C7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31E36E-9BC0-3D4E-B45D-94CAE0C42F49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284E07-0451-5549-26CA-157304BBC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B21280-41CC-7C12-C1C0-D971DDE7BF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96B584-57BB-6941-AE22-C5A78F7F98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7701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50C850-E82E-8886-09D2-B7C2E7A217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2B96C4C-C13E-D13C-1CBD-990108CD98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07E956-8230-4B80-7D24-81A7C7CE43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31E36E-9BC0-3D4E-B45D-94CAE0C42F49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52F4FA-DFF2-457A-A2C7-FEE3FD4A8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B34D85-DDBF-25C4-8AB4-99607FEED6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96B584-57BB-6941-AE22-C5A78F7F98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9560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4D62324-8564-BB53-E565-5E5BD245122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D3988BD-658E-83D3-CA8D-7293D86274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12B89A-27D8-3593-6F6E-8BB44E85D7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31E36E-9BC0-3D4E-B45D-94CAE0C42F49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AEDBF9-9E8C-0B6A-957F-401478440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190E79-3473-99B5-D3DC-FF7CCC64D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96B584-57BB-6941-AE22-C5A78F7F98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9987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F18C61-EFE6-E460-7EFA-FDC12ACDC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A309DD-9003-0CEF-30CE-3DC04894F9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65B14-648D-4542-82A9-90524AA7562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54B61A-1835-BA45-0327-BE52936594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B1E3DE9-7D7F-C399-7CF5-E6899BF0D3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944EC-F883-FE4B-9E36-DA62B74FD0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0320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7838739-2996-7C71-4327-4B10F3272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65B14-648D-4542-82A9-90524AA7562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4B6223-8323-AE6A-C913-9566B33702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C3889E-DBC8-7842-5E6F-883EA04BD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944EC-F883-FE4B-9E36-DA62B74FD0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18533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B27854-BFA6-7E7C-E074-81A66D7558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21185A-B627-E9CF-2632-0259CA173D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00C5CD-6E3A-B3FB-0A64-CA5EFDA286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0EA70F-B48D-633E-FDB5-1E4593D87E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65B14-648D-4542-82A9-90524AA7562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F7D935-101C-F052-A485-0A4426F31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1BE62C-9A8D-4DDF-CC68-A76836F3A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944EC-F883-FE4B-9E36-DA62B74FD0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1173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9A05E6-B555-FE8E-54B5-B4A5201FE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E15F21-0484-5B86-5CE8-B56AFC03841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C8B965-A558-69D7-4212-2975F7F28F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45DDC9-34F5-3453-EC50-17224E18A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65B14-648D-4542-82A9-90524AA7562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F4FFC1-E8D1-CDE8-2063-64341EC6BD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55878F-8D55-038E-4B5A-C8274316F9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9944EC-F883-FE4B-9E36-DA62B74FD0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0520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7.emf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oleObject" Target="../embeddings/oleObject2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10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3.emf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oleObject" Target="../embeddings/oleObject3.bin"/><Relationship Id="rId5" Type="http://schemas.openxmlformats.org/officeDocument/2006/relationships/tags" Target="../tags/tag3.xml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5911A5-BE6E-71F4-6140-091AD2BFD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912594-1318-A0BA-6774-F598F111E0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37D0FE-CC96-FA86-5BBD-C57FAC16D6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B65B14-648D-4542-82A9-90524AA75627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0AFFC7-92A8-B3CF-3948-97D39501E5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8B521A-D069-3624-ECB1-EF8CAA419F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9944EC-F883-FE4B-9E36-DA62B74FD0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364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6694483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22D026E-9ADA-18DF-069E-5F168E57CB86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</p:spTree>
    <p:extLst>
      <p:ext uri="{BB962C8B-B14F-4D97-AF65-F5344CB8AC3E}">
        <p14:creationId xmlns:p14="http://schemas.microsoft.com/office/powerpoint/2010/main" val="2138620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B9B025-460A-45BD-8ACF-FE3A40EE7658}" type="datetime3">
              <a:rPr lang="en-US" smtClean="0"/>
              <a:t>18 October 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CE47BB-7310-46D8-81F3-6ABCEF98FE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008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9E78A73-D5EA-AC54-FA24-830A03CEFC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26871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E78A73-D5EA-AC54-FA24-830A03CEF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EE0FF2-8560-9049-D37F-84A5999922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B35836-6684-C1E7-3BAE-9FE4FB4117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655FF6-38B2-DD2F-867A-1595497EE2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3EAFEC-E589-4649-A4AC-19FE2E40A69A}" type="datetime3">
              <a:rPr lang="en-US" smtClean="0"/>
              <a:t>18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500EF9-89B8-F9E8-0387-C6A5B4B6E6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A136B8-EE14-D0E4-6038-AED0DCAE9B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A9A0C5-416C-A0B1-80BE-A78F942FBCE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208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F9F663-3111-077D-4C35-1A1A9A935478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9082416" y="410053"/>
            <a:ext cx="2271384" cy="883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250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18F1543A-23CA-3824-18F5-8CBE8DF844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t="11447" b="23581"/>
          <a:stretch/>
        </p:blipFill>
        <p:spPr>
          <a:xfrm>
            <a:off x="0" y="6492875"/>
            <a:ext cx="12192000" cy="36512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2AA5DB9-2028-CFC9-8086-9797A7B8FE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l="7695" t="794"/>
          <a:stretch/>
        </p:blipFill>
        <p:spPr>
          <a:xfrm>
            <a:off x="-1" y="0"/>
            <a:ext cx="12193603" cy="1178349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1CF5AC-AA84-D9D7-1E67-5270B766E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511" y="-87658"/>
            <a:ext cx="11033289" cy="14581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AB2716-9BD2-FB27-4E63-115B48BEEB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500D6A-1D79-EEA9-1C4A-FB92CDEB05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7F7B52D3-1976-477B-BA83-1A9EF7FC3ED7}" type="datetimeFigureOut">
              <a:rPr lang="en-US" smtClean="0"/>
              <a:pPr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979063-BF46-AD25-37F0-E8A26C997B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AB4CE0-3D8C-5D19-47CE-EC88571A8D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D09EB417-1929-41A2-A6F3-37D8F87A49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E271D24-42E4-14D9-0506-85AB094198D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208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</p:spTree>
    <p:extLst>
      <p:ext uri="{BB962C8B-B14F-4D97-AF65-F5344CB8AC3E}">
        <p14:creationId xmlns:p14="http://schemas.microsoft.com/office/powerpoint/2010/main" val="2482232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6694483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22D026E-9ADA-18DF-069E-5F168E57CB86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</p:spTree>
    <p:extLst>
      <p:ext uri="{BB962C8B-B14F-4D97-AF65-F5344CB8AC3E}">
        <p14:creationId xmlns:p14="http://schemas.microsoft.com/office/powerpoint/2010/main" val="1756930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DD7EA15-BE65-0E78-5CC4-AEAB2B636A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EB50F5-C66C-FBCB-2E90-DBB4736A7C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590D48-1A94-6F2E-7D31-1DFF149C2F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31E36E-9BC0-3D4E-B45D-94CAE0C42F49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BAD897-3C07-B19C-CBBF-8C1CCA2A5C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FCD66C-D609-73B1-BA84-9F9C8FEE66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96B584-57BB-6941-AE22-C5A78F7F98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810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13" Type="http://schemas.openxmlformats.org/officeDocument/2006/relationships/image" Target="../media/image47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12" Type="http://schemas.openxmlformats.org/officeDocument/2006/relationships/image" Target="../media/image46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0.sv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0" Type="http://schemas.openxmlformats.org/officeDocument/2006/relationships/image" Target="../media/image44.svg"/><Relationship Id="rId4" Type="http://schemas.openxmlformats.org/officeDocument/2006/relationships/image" Target="../media/image38.svg"/><Relationship Id="rId9" Type="http://schemas.openxmlformats.org/officeDocument/2006/relationships/image" Target="../media/image43.png"/><Relationship Id="rId14" Type="http://schemas.openxmlformats.org/officeDocument/2006/relationships/image" Target="../media/image48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4.xml"/><Relationship Id="rId6" Type="http://schemas.openxmlformats.org/officeDocument/2006/relationships/image" Target="../media/image49.png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7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54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.xml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5" Type="http://schemas.openxmlformats.org/officeDocument/2006/relationships/image" Target="../media/image8.png"/><Relationship Id="rId10" Type="http://schemas.openxmlformats.org/officeDocument/2006/relationships/image" Target="../media/image57.png"/><Relationship Id="rId4" Type="http://schemas.openxmlformats.org/officeDocument/2006/relationships/image" Target="../media/image7.emf"/><Relationship Id="rId9" Type="http://schemas.openxmlformats.org/officeDocument/2006/relationships/image" Target="../media/image5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7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7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8.xml"/><Relationship Id="rId6" Type="http://schemas.openxmlformats.org/officeDocument/2006/relationships/image" Target="../media/image61.png"/><Relationship Id="rId5" Type="http://schemas.openxmlformats.org/officeDocument/2006/relationships/image" Target="../media/image55.png"/><Relationship Id="rId4" Type="http://schemas.openxmlformats.org/officeDocument/2006/relationships/image" Target="../media/image7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54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9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7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tiff"/><Relationship Id="rId1" Type="http://schemas.openxmlformats.org/officeDocument/2006/relationships/slideLayout" Target="../slideLayouts/slideLayout3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tiff"/><Relationship Id="rId1" Type="http://schemas.openxmlformats.org/officeDocument/2006/relationships/slideLayout" Target="../slideLayouts/slideLayout3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tiff"/><Relationship Id="rId2" Type="http://schemas.openxmlformats.org/officeDocument/2006/relationships/image" Target="../media/image65.tiff"/><Relationship Id="rId1" Type="http://schemas.openxmlformats.org/officeDocument/2006/relationships/slideLayout" Target="../slideLayouts/slideLayout3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tiff"/><Relationship Id="rId1" Type="http://schemas.openxmlformats.org/officeDocument/2006/relationships/slideLayout" Target="../slideLayouts/slideLayout3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7.xml"/><Relationship Id="rId5" Type="http://schemas.openxmlformats.org/officeDocument/2006/relationships/image" Target="../media/image70.png"/><Relationship Id="rId4" Type="http://schemas.openxmlformats.org/officeDocument/2006/relationships/image" Target="../media/image69.tif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73.emf"/><Relationship Id="rId4" Type="http://schemas.openxmlformats.org/officeDocument/2006/relationships/image" Target="../media/image72.emf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5" Type="http://schemas.openxmlformats.org/officeDocument/2006/relationships/image" Target="../media/image30.sv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7.xml"/><Relationship Id="rId5" Type="http://schemas.openxmlformats.org/officeDocument/2006/relationships/image" Target="../media/image69.tiff"/><Relationship Id="rId4" Type="http://schemas.openxmlformats.org/officeDocument/2006/relationships/hyperlink" Target="http://www.visitsilkroad.org/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tiff"/><Relationship Id="rId2" Type="http://schemas.openxmlformats.org/officeDocument/2006/relationships/image" Target="../media/image68.tiff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80.png"/><Relationship Id="rId5" Type="http://schemas.openxmlformats.org/officeDocument/2006/relationships/hyperlink" Target="https://visitsilkroad.org/staging?_sm_nck=1" TargetMode="External"/><Relationship Id="rId4" Type="http://schemas.openxmlformats.org/officeDocument/2006/relationships/image" Target="../media/image70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5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emf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5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hyperlink" Target="https://stambahotel.com/" TargetMode="External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8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asiandevbank.sharepoint.com/:w:/t/carec/ERDSOxiFCPlGpW5ctWn4F5QBl-BRR0ciTjNnDwvEXvMejQ?e=Fe3jXv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86.png"/><Relationship Id="rId4" Type="http://schemas.openxmlformats.org/officeDocument/2006/relationships/hyperlink" Target="https://asiandevbank.sharepoint.com/:w:/t/carec/EdGCM7negP1Ag4uRIq84Q1EBsBsjZHs2U7oIIJF4FMlI8g?e=WPrLb6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16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A128B25-A5EE-A405-B994-492D17F77086}"/>
              </a:ext>
            </a:extLst>
          </p:cNvPr>
          <p:cNvSpPr/>
          <p:nvPr/>
        </p:nvSpPr>
        <p:spPr>
          <a:xfrm>
            <a:off x="-1700" y="-404037"/>
            <a:ext cx="7198340" cy="4681741"/>
          </a:xfrm>
          <a:custGeom>
            <a:avLst/>
            <a:gdLst>
              <a:gd name="connsiteX0" fmla="*/ 0 w 7198340"/>
              <a:gd name="connsiteY0" fmla="*/ 0 h 4681741"/>
              <a:gd name="connsiteX1" fmla="*/ 1700 w 7198340"/>
              <a:gd name="connsiteY1" fmla="*/ 0 h 4681741"/>
              <a:gd name="connsiteX2" fmla="*/ 1700 w 7198340"/>
              <a:gd name="connsiteY2" fmla="*/ 404037 h 4681741"/>
              <a:gd name="connsiteX3" fmla="*/ 7198340 w 7198340"/>
              <a:gd name="connsiteY3" fmla="*/ 404037 h 4681741"/>
              <a:gd name="connsiteX4" fmla="*/ 7198340 w 7198340"/>
              <a:gd name="connsiteY4" fmla="*/ 4290394 h 4681741"/>
              <a:gd name="connsiteX5" fmla="*/ 6806993 w 7198340"/>
              <a:gd name="connsiteY5" fmla="*/ 4681741 h 4681741"/>
              <a:gd name="connsiteX6" fmla="*/ 0 w 7198340"/>
              <a:gd name="connsiteY6" fmla="*/ 4681741 h 4681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98340" h="4681741">
                <a:moveTo>
                  <a:pt x="0" y="0"/>
                </a:moveTo>
                <a:lnTo>
                  <a:pt x="1700" y="0"/>
                </a:lnTo>
                <a:lnTo>
                  <a:pt x="1700" y="404037"/>
                </a:lnTo>
                <a:lnTo>
                  <a:pt x="7198340" y="404037"/>
                </a:lnTo>
                <a:lnTo>
                  <a:pt x="7198340" y="4290394"/>
                </a:lnTo>
                <a:cubicBezTo>
                  <a:pt x="7198340" y="4506529"/>
                  <a:pt x="7023128" y="4681741"/>
                  <a:pt x="6806993" y="4681741"/>
                </a:cubicBezTo>
                <a:lnTo>
                  <a:pt x="0" y="4681741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19D32F93-50AC-4C46-A5DB-291C60DDB7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827DC2C4-B485-428A-BF4A-472D2967F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576720" y="3335867"/>
            <a:ext cx="3291840" cy="32004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E04B5EB-F158-4507-90DD-BD23620C7C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1774" y="623275"/>
            <a:ext cx="10905053" cy="560788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7A3011-80FD-852E-BA55-B7D512085D2A}"/>
              </a:ext>
            </a:extLst>
          </p:cNvPr>
          <p:cNvSpPr/>
          <p:nvPr/>
        </p:nvSpPr>
        <p:spPr>
          <a:xfrm>
            <a:off x="-170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erson holding a plant&#10;&#10;Description automatically generated">
            <a:extLst>
              <a:ext uri="{FF2B5EF4-FFF2-40B4-BE49-F238E27FC236}">
                <a16:creationId xmlns:a16="http://schemas.microsoft.com/office/drawing/2014/main" id="{27128FBB-B586-DDC9-23F1-B266FDB09E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41"/>
            <a:ext cx="12192000" cy="6854918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A9993B09-5704-9AAA-8FD1-AC26C15378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34332" y="3516230"/>
            <a:ext cx="5925987" cy="1312657"/>
          </a:xfrm>
        </p:spPr>
        <p:txBody>
          <a:bodyPr anchor="t">
            <a:normAutofit/>
          </a:bodyPr>
          <a:lstStyle/>
          <a:p>
            <a:pPr algn="l">
              <a:spcBef>
                <a:spcPts val="0"/>
              </a:spcBef>
            </a:pPr>
            <a:r>
              <a:rPr lang="ru-RU" sz="2200" dirty="0">
                <a:latin typeface="Abadi" panose="020B0604020104020204" pitchFamily="34" charset="0"/>
                <a:cs typeface="Arial" panose="020B0604020202020204" pitchFamily="34" charset="0"/>
              </a:rPr>
              <a:t>Заседание национальных координаторов</a:t>
            </a:r>
          </a:p>
          <a:p>
            <a:pPr algn="l">
              <a:spcBef>
                <a:spcPts val="0"/>
              </a:spcBef>
            </a:pPr>
            <a:r>
              <a:rPr lang="ru-RU" sz="2200" dirty="0">
                <a:latin typeface="Abadi" panose="020B0604020104020204" pitchFamily="34" charset="0"/>
                <a:cs typeface="Arial" panose="020B0604020202020204" pitchFamily="34" charset="0"/>
              </a:rPr>
              <a:t>18 октября 2023 г.</a:t>
            </a:r>
          </a:p>
          <a:p>
            <a:pPr algn="l">
              <a:spcBef>
                <a:spcPts val="0"/>
              </a:spcBef>
            </a:pPr>
            <a:r>
              <a:rPr lang="ru-RU" sz="2200" dirty="0">
                <a:latin typeface="Abadi" panose="020B0604020104020204" pitchFamily="34" charset="0"/>
                <a:cs typeface="Arial" panose="020B0604020202020204" pitchFamily="34" charset="0"/>
              </a:rPr>
              <a:t>Секретариат ЦАРЭС</a:t>
            </a:r>
            <a:endParaRPr lang="en-US" sz="2200" dirty="0">
              <a:latin typeface="Abadi" panose="020B0604020104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EC3257F-044D-7934-A912-7981F952F81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80" r="2" b="2"/>
          <a:stretch/>
        </p:blipFill>
        <p:spPr bwMode="auto">
          <a:xfrm>
            <a:off x="932632" y="4871240"/>
            <a:ext cx="1463637" cy="1317563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95983CE-A8EF-13C7-E48C-64C3976113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34330" y="1132316"/>
            <a:ext cx="5925989" cy="2360115"/>
          </a:xfrm>
        </p:spPr>
        <p:txBody>
          <a:bodyPr anchor="b">
            <a:normAutofit fontScale="90000"/>
          </a:bodyPr>
          <a:lstStyle/>
          <a:p>
            <a:pPr marL="0" marR="0" algn="l">
              <a:spcAft>
                <a:spcPts val="600"/>
              </a:spcAft>
            </a:pPr>
            <a:r>
              <a:rPr lang="ru-RU" sz="4800" b="1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  <a:cs typeface="Arial" panose="020B0604020202020204" pitchFamily="34" charset="0"/>
              </a:rPr>
              <a:t>Региональные меры по борьбе с изменением климата: видение Программы ЦАРЭС</a:t>
            </a:r>
            <a:endParaRPr lang="en-US" sz="4800" b="1" dirty="0"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  <a:latin typeface="Abadi" panose="020B0604020104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4511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079505E-E447-4623-975A-3733EFAD2028}"/>
              </a:ext>
            </a:extLst>
          </p:cNvPr>
          <p:cNvSpPr/>
          <p:nvPr/>
        </p:nvSpPr>
        <p:spPr>
          <a:xfrm>
            <a:off x="3484499" y="1961089"/>
            <a:ext cx="960120" cy="960120"/>
          </a:xfrm>
          <a:custGeom>
            <a:avLst/>
            <a:gdLst>
              <a:gd name="connsiteX0" fmla="*/ 0 w 1502833"/>
              <a:gd name="connsiteY0" fmla="*/ 751417 h 1502833"/>
              <a:gd name="connsiteX1" fmla="*/ 751417 w 1502833"/>
              <a:gd name="connsiteY1" fmla="*/ 0 h 1502833"/>
              <a:gd name="connsiteX2" fmla="*/ 1502834 w 1502833"/>
              <a:gd name="connsiteY2" fmla="*/ 751417 h 1502833"/>
              <a:gd name="connsiteX3" fmla="*/ 751417 w 1502833"/>
              <a:gd name="connsiteY3" fmla="*/ 1502834 h 1502833"/>
              <a:gd name="connsiteX4" fmla="*/ 0 w 1502833"/>
              <a:gd name="connsiteY4" fmla="*/ 751417 h 1502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2833" h="1502833">
                <a:moveTo>
                  <a:pt x="0" y="751417"/>
                </a:moveTo>
                <a:cubicBezTo>
                  <a:pt x="0" y="336421"/>
                  <a:pt x="336421" y="0"/>
                  <a:pt x="751417" y="0"/>
                </a:cubicBezTo>
                <a:cubicBezTo>
                  <a:pt x="1166413" y="0"/>
                  <a:pt x="1502834" y="336421"/>
                  <a:pt x="1502834" y="751417"/>
                </a:cubicBezTo>
                <a:cubicBezTo>
                  <a:pt x="1502834" y="1166413"/>
                  <a:pt x="1166413" y="1502834"/>
                  <a:pt x="751417" y="1502834"/>
                </a:cubicBezTo>
                <a:cubicBezTo>
                  <a:pt x="336421" y="1502834"/>
                  <a:pt x="0" y="1166413"/>
                  <a:pt x="0" y="751417"/>
                </a:cubicBezTo>
                <a:close/>
              </a:path>
            </a:pathLst>
          </a:custGeom>
          <a:solidFill>
            <a:srgbClr val="00B5C9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74589" tIns="174589" rIns="174589" bIns="174589" numCol="1" spcCol="1270" anchor="ctr" anchorCtr="0">
            <a:noAutofit/>
          </a:bodyPr>
          <a:lstStyle/>
          <a:p>
            <a:pPr marL="0" marR="0" lvl="0" indent="0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24D77A2-3E41-4151-80B8-2975FEB9A522}"/>
              </a:ext>
            </a:extLst>
          </p:cNvPr>
          <p:cNvSpPr/>
          <p:nvPr/>
        </p:nvSpPr>
        <p:spPr>
          <a:xfrm>
            <a:off x="3829793" y="3187398"/>
            <a:ext cx="960120" cy="960120"/>
          </a:xfrm>
          <a:custGeom>
            <a:avLst/>
            <a:gdLst>
              <a:gd name="connsiteX0" fmla="*/ 0 w 1502833"/>
              <a:gd name="connsiteY0" fmla="*/ 751417 h 1502833"/>
              <a:gd name="connsiteX1" fmla="*/ 751417 w 1502833"/>
              <a:gd name="connsiteY1" fmla="*/ 0 h 1502833"/>
              <a:gd name="connsiteX2" fmla="*/ 1502834 w 1502833"/>
              <a:gd name="connsiteY2" fmla="*/ 751417 h 1502833"/>
              <a:gd name="connsiteX3" fmla="*/ 751417 w 1502833"/>
              <a:gd name="connsiteY3" fmla="*/ 1502834 h 1502833"/>
              <a:gd name="connsiteX4" fmla="*/ 0 w 1502833"/>
              <a:gd name="connsiteY4" fmla="*/ 751417 h 1502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2833" h="1502833">
                <a:moveTo>
                  <a:pt x="0" y="751417"/>
                </a:moveTo>
                <a:cubicBezTo>
                  <a:pt x="0" y="336421"/>
                  <a:pt x="336421" y="0"/>
                  <a:pt x="751417" y="0"/>
                </a:cubicBezTo>
                <a:cubicBezTo>
                  <a:pt x="1166413" y="0"/>
                  <a:pt x="1502834" y="336421"/>
                  <a:pt x="1502834" y="751417"/>
                </a:cubicBezTo>
                <a:cubicBezTo>
                  <a:pt x="1502834" y="1166413"/>
                  <a:pt x="1166413" y="1502834"/>
                  <a:pt x="751417" y="1502834"/>
                </a:cubicBezTo>
                <a:cubicBezTo>
                  <a:pt x="336421" y="1502834"/>
                  <a:pt x="0" y="1166413"/>
                  <a:pt x="0" y="751417"/>
                </a:cubicBezTo>
                <a:close/>
              </a:path>
            </a:pathLst>
          </a:custGeom>
          <a:solidFill>
            <a:srgbClr val="8EC64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74589" tIns="174589" rIns="174589" bIns="174589" numCol="1" spcCol="1270" anchor="ctr" anchorCtr="0">
            <a:noAutofit/>
          </a:bodyPr>
          <a:lstStyle/>
          <a:p>
            <a:pPr marL="0" marR="0" lvl="0" indent="0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7C64AE9D-A0A5-4470-991B-697E603C1109}"/>
              </a:ext>
            </a:extLst>
          </p:cNvPr>
          <p:cNvSpPr/>
          <p:nvPr/>
        </p:nvSpPr>
        <p:spPr>
          <a:xfrm>
            <a:off x="7276391" y="3166187"/>
            <a:ext cx="960120" cy="960120"/>
          </a:xfrm>
          <a:custGeom>
            <a:avLst/>
            <a:gdLst>
              <a:gd name="connsiteX0" fmla="*/ 0 w 1502833"/>
              <a:gd name="connsiteY0" fmla="*/ 751417 h 1502833"/>
              <a:gd name="connsiteX1" fmla="*/ 751417 w 1502833"/>
              <a:gd name="connsiteY1" fmla="*/ 0 h 1502833"/>
              <a:gd name="connsiteX2" fmla="*/ 1502834 w 1502833"/>
              <a:gd name="connsiteY2" fmla="*/ 751417 h 1502833"/>
              <a:gd name="connsiteX3" fmla="*/ 751417 w 1502833"/>
              <a:gd name="connsiteY3" fmla="*/ 1502834 h 1502833"/>
              <a:gd name="connsiteX4" fmla="*/ 0 w 1502833"/>
              <a:gd name="connsiteY4" fmla="*/ 751417 h 1502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2833" h="1502833">
                <a:moveTo>
                  <a:pt x="0" y="751417"/>
                </a:moveTo>
                <a:cubicBezTo>
                  <a:pt x="0" y="336421"/>
                  <a:pt x="336421" y="0"/>
                  <a:pt x="751417" y="0"/>
                </a:cubicBezTo>
                <a:cubicBezTo>
                  <a:pt x="1166413" y="0"/>
                  <a:pt x="1502834" y="336421"/>
                  <a:pt x="1502834" y="751417"/>
                </a:cubicBezTo>
                <a:cubicBezTo>
                  <a:pt x="1502834" y="1166413"/>
                  <a:pt x="1166413" y="1502834"/>
                  <a:pt x="751417" y="1502834"/>
                </a:cubicBezTo>
                <a:cubicBezTo>
                  <a:pt x="336421" y="1502834"/>
                  <a:pt x="0" y="1166413"/>
                  <a:pt x="0" y="751417"/>
                </a:cubicBezTo>
                <a:close/>
              </a:path>
            </a:pathLst>
          </a:custGeom>
          <a:solidFill>
            <a:srgbClr val="0070C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74589" tIns="174589" rIns="174589" bIns="174589" numCol="1" spcCol="1270" anchor="ctr" anchorCtr="0">
            <a:noAutofit/>
          </a:bodyPr>
          <a:lstStyle/>
          <a:p>
            <a:pPr marL="0" marR="0" lvl="0" indent="0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2F44DEEF-F706-4C5D-82E4-30089256ADE3}"/>
              </a:ext>
            </a:extLst>
          </p:cNvPr>
          <p:cNvSpPr/>
          <p:nvPr/>
        </p:nvSpPr>
        <p:spPr>
          <a:xfrm>
            <a:off x="7657037" y="1961089"/>
            <a:ext cx="960120" cy="960120"/>
          </a:xfrm>
          <a:custGeom>
            <a:avLst/>
            <a:gdLst>
              <a:gd name="connsiteX0" fmla="*/ 0 w 1502833"/>
              <a:gd name="connsiteY0" fmla="*/ 751417 h 1502833"/>
              <a:gd name="connsiteX1" fmla="*/ 751417 w 1502833"/>
              <a:gd name="connsiteY1" fmla="*/ 0 h 1502833"/>
              <a:gd name="connsiteX2" fmla="*/ 1502834 w 1502833"/>
              <a:gd name="connsiteY2" fmla="*/ 751417 h 1502833"/>
              <a:gd name="connsiteX3" fmla="*/ 751417 w 1502833"/>
              <a:gd name="connsiteY3" fmla="*/ 1502834 h 1502833"/>
              <a:gd name="connsiteX4" fmla="*/ 0 w 1502833"/>
              <a:gd name="connsiteY4" fmla="*/ 751417 h 1502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2833" h="1502833">
                <a:moveTo>
                  <a:pt x="0" y="751417"/>
                </a:moveTo>
                <a:cubicBezTo>
                  <a:pt x="0" y="336421"/>
                  <a:pt x="336421" y="0"/>
                  <a:pt x="751417" y="0"/>
                </a:cubicBezTo>
                <a:cubicBezTo>
                  <a:pt x="1166413" y="0"/>
                  <a:pt x="1502834" y="336421"/>
                  <a:pt x="1502834" y="751417"/>
                </a:cubicBezTo>
                <a:cubicBezTo>
                  <a:pt x="1502834" y="1166413"/>
                  <a:pt x="1166413" y="1502834"/>
                  <a:pt x="751417" y="1502834"/>
                </a:cubicBezTo>
                <a:cubicBezTo>
                  <a:pt x="336421" y="1502834"/>
                  <a:pt x="0" y="1166413"/>
                  <a:pt x="0" y="751417"/>
                </a:cubicBezTo>
                <a:close/>
              </a:path>
            </a:pathLst>
          </a:custGeom>
          <a:solidFill>
            <a:srgbClr val="F29B2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74589" tIns="174589" rIns="174589" bIns="174589" numCol="1" spcCol="1270" anchor="ctr" anchorCtr="0">
            <a:noAutofit/>
          </a:bodyPr>
          <a:lstStyle/>
          <a:p>
            <a:pPr marL="0" marR="0" lvl="0" indent="0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A9FF002A-DEA6-491A-AD23-36DFA991163A}"/>
              </a:ext>
            </a:extLst>
          </p:cNvPr>
          <p:cNvSpPr/>
          <p:nvPr/>
        </p:nvSpPr>
        <p:spPr>
          <a:xfrm>
            <a:off x="4927389" y="3979701"/>
            <a:ext cx="960120" cy="960120"/>
          </a:xfrm>
          <a:custGeom>
            <a:avLst/>
            <a:gdLst>
              <a:gd name="connsiteX0" fmla="*/ 0 w 1502833"/>
              <a:gd name="connsiteY0" fmla="*/ 751417 h 1502833"/>
              <a:gd name="connsiteX1" fmla="*/ 751417 w 1502833"/>
              <a:gd name="connsiteY1" fmla="*/ 0 h 1502833"/>
              <a:gd name="connsiteX2" fmla="*/ 1502834 w 1502833"/>
              <a:gd name="connsiteY2" fmla="*/ 751417 h 1502833"/>
              <a:gd name="connsiteX3" fmla="*/ 751417 w 1502833"/>
              <a:gd name="connsiteY3" fmla="*/ 1502834 h 1502833"/>
              <a:gd name="connsiteX4" fmla="*/ 0 w 1502833"/>
              <a:gd name="connsiteY4" fmla="*/ 751417 h 1502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2833" h="1502833">
                <a:moveTo>
                  <a:pt x="0" y="751417"/>
                </a:moveTo>
                <a:cubicBezTo>
                  <a:pt x="0" y="336421"/>
                  <a:pt x="336421" y="0"/>
                  <a:pt x="751417" y="0"/>
                </a:cubicBezTo>
                <a:cubicBezTo>
                  <a:pt x="1166413" y="0"/>
                  <a:pt x="1502834" y="336421"/>
                  <a:pt x="1502834" y="751417"/>
                </a:cubicBezTo>
                <a:cubicBezTo>
                  <a:pt x="1502834" y="1166413"/>
                  <a:pt x="1166413" y="1502834"/>
                  <a:pt x="751417" y="1502834"/>
                </a:cubicBezTo>
                <a:cubicBezTo>
                  <a:pt x="336421" y="1502834"/>
                  <a:pt x="0" y="1166413"/>
                  <a:pt x="0" y="751417"/>
                </a:cubicBezTo>
                <a:close/>
              </a:path>
            </a:pathLst>
          </a:custGeom>
          <a:solidFill>
            <a:srgbClr val="F1C62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74589" tIns="174589" rIns="174589" bIns="174589" numCol="1" spcCol="1270" anchor="ctr" anchorCtr="0">
            <a:noAutofit/>
          </a:bodyPr>
          <a:lstStyle/>
          <a:p>
            <a:pPr marL="0" marR="0" lvl="0" indent="0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6CB5C884-48A6-4051-9AF9-15DCC50609E3}"/>
              </a:ext>
            </a:extLst>
          </p:cNvPr>
          <p:cNvSpPr/>
          <p:nvPr/>
        </p:nvSpPr>
        <p:spPr>
          <a:xfrm>
            <a:off x="6270676" y="3965557"/>
            <a:ext cx="960120" cy="960120"/>
          </a:xfrm>
          <a:custGeom>
            <a:avLst/>
            <a:gdLst>
              <a:gd name="connsiteX0" fmla="*/ 0 w 1502833"/>
              <a:gd name="connsiteY0" fmla="*/ 751417 h 1502833"/>
              <a:gd name="connsiteX1" fmla="*/ 751417 w 1502833"/>
              <a:gd name="connsiteY1" fmla="*/ 0 h 1502833"/>
              <a:gd name="connsiteX2" fmla="*/ 1502834 w 1502833"/>
              <a:gd name="connsiteY2" fmla="*/ 751417 h 1502833"/>
              <a:gd name="connsiteX3" fmla="*/ 751417 w 1502833"/>
              <a:gd name="connsiteY3" fmla="*/ 1502834 h 1502833"/>
              <a:gd name="connsiteX4" fmla="*/ 0 w 1502833"/>
              <a:gd name="connsiteY4" fmla="*/ 751417 h 1502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2833" h="1502833">
                <a:moveTo>
                  <a:pt x="0" y="751417"/>
                </a:moveTo>
                <a:cubicBezTo>
                  <a:pt x="0" y="336421"/>
                  <a:pt x="336421" y="0"/>
                  <a:pt x="751417" y="0"/>
                </a:cubicBezTo>
                <a:cubicBezTo>
                  <a:pt x="1166413" y="0"/>
                  <a:pt x="1502834" y="336421"/>
                  <a:pt x="1502834" y="751417"/>
                </a:cubicBezTo>
                <a:cubicBezTo>
                  <a:pt x="1502834" y="1166413"/>
                  <a:pt x="1166413" y="1502834"/>
                  <a:pt x="751417" y="1502834"/>
                </a:cubicBezTo>
                <a:cubicBezTo>
                  <a:pt x="336421" y="1502834"/>
                  <a:pt x="0" y="1166413"/>
                  <a:pt x="0" y="751417"/>
                </a:cubicBezTo>
                <a:close/>
              </a:path>
            </a:pathLst>
          </a:custGeom>
          <a:solidFill>
            <a:srgbClr val="00B05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74589" tIns="174589" rIns="174589" bIns="174589" numCol="1" spcCol="1270" anchor="ctr" anchorCtr="0">
            <a:noAutofit/>
          </a:bodyPr>
          <a:lstStyle/>
          <a:p>
            <a:pPr marL="0" marR="0" lvl="0" indent="0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4FD39D0-8DE9-4B7B-A382-9A1E564B02EA}"/>
              </a:ext>
            </a:extLst>
          </p:cNvPr>
          <p:cNvSpPr txBox="1"/>
          <p:nvPr/>
        </p:nvSpPr>
        <p:spPr>
          <a:xfrm>
            <a:off x="1227739" y="2000150"/>
            <a:ext cx="1972508" cy="11872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1200" cap="none" spc="0" normalizeH="0" baseline="0" noProof="0" dirty="0">
                <a:ln>
                  <a:noFill/>
                </a:ln>
                <a:solidFill>
                  <a:srgbClr val="00B5C9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ЦЕЛИ</a:t>
            </a:r>
          </a:p>
          <a:p>
            <a:pPr marL="0" marR="0" lvl="1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Больше прибыльных проектов</a:t>
            </a:r>
          </a:p>
          <a:p>
            <a:pPr marL="0" marR="0" lvl="1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Ускорение достижения ЦУР и изменения климата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1200F77-283C-44FE-ACDA-69806DF029A5}"/>
              </a:ext>
            </a:extLst>
          </p:cNvPr>
          <p:cNvSpPr txBox="1"/>
          <p:nvPr/>
        </p:nvSpPr>
        <p:spPr>
          <a:xfrm>
            <a:off x="2674531" y="4798896"/>
            <a:ext cx="2520031" cy="11945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500" b="1" i="0" u="none" strike="noStrike" kern="1200" cap="none" spc="0" normalizeH="0" baseline="0" noProof="0" dirty="0">
                <a:ln>
                  <a:noFill/>
                </a:ln>
                <a:solidFill>
                  <a:srgbClr val="F1C622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ПОДДЕРЖИВАЕМЫЕ МЕРОПРИЯТИЯ</a:t>
            </a:r>
          </a:p>
          <a:p>
            <a:pPr marL="0" marR="0" lvl="1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Широкий спектр мероприятий по подготовке и развитию проектов</a:t>
            </a:r>
          </a:p>
          <a:p>
            <a:pPr marL="0" marR="0" lvl="1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До заключения финансовой сделки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5AA243A-ED1D-4EF5-A7CB-681BEA6B7139}"/>
              </a:ext>
            </a:extLst>
          </p:cNvPr>
          <p:cNvSpPr txBox="1"/>
          <p:nvPr/>
        </p:nvSpPr>
        <p:spPr>
          <a:xfrm>
            <a:off x="7170901" y="4699745"/>
            <a:ext cx="2188708" cy="13018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5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ПАРТНЕРСТВА</a:t>
            </a:r>
          </a:p>
          <a:p>
            <a:pPr marL="0" marR="0" lvl="1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Партнеры по совместному финансированию и знаниям, работающие в регионе</a:t>
            </a:r>
          </a:p>
          <a:p>
            <a:pPr marL="0" marR="0" lvl="1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  <a:p>
            <a:pPr marL="0" marR="0" lvl="1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Создание экспертного пула, готового оказать поддержку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75F0841-1CC0-49B6-861B-129F48DC1B50}"/>
              </a:ext>
            </a:extLst>
          </p:cNvPr>
          <p:cNvSpPr txBox="1"/>
          <p:nvPr/>
        </p:nvSpPr>
        <p:spPr>
          <a:xfrm>
            <a:off x="8411671" y="3760846"/>
            <a:ext cx="2168637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5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ИНСТРУМЕНТЫ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haroni" panose="02010803020104030203" pitchFamily="2" charset="-79"/>
              <a:ea typeface="+mn-ea"/>
              <a:cs typeface="Aharoni" panose="02010803020104030203" pitchFamily="2" charset="-79"/>
            </a:endParaRPr>
          </a:p>
          <a:p>
            <a:pPr marL="0" marR="0" lvl="1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К</a:t>
            </a: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о</a:t>
            </a:r>
            <a:r>
              <a:rPr kumimoji="0" lang="ru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нвертируемая ТП, гранты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FE590A6-1B05-46A9-B4B6-21D18EFC04BA}"/>
              </a:ext>
            </a:extLst>
          </p:cNvPr>
          <p:cNvSpPr txBox="1"/>
          <p:nvPr/>
        </p:nvSpPr>
        <p:spPr>
          <a:xfrm>
            <a:off x="8707502" y="2086586"/>
            <a:ext cx="2137707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500" b="1" i="0" u="none" strike="noStrike" kern="1200" cap="none" spc="0" normalizeH="0" baseline="0" noProof="0" dirty="0">
                <a:ln>
                  <a:noFill/>
                </a:ln>
                <a:solidFill>
                  <a:srgbClr val="F29B22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ШТАТ</a:t>
            </a:r>
          </a:p>
          <a:p>
            <a:pPr marL="0" marR="0" lvl="1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Сотрудники АБР, прикомандированные сотрудники, (ТП АБР для поддержки администрирования и развития потенциала)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4BCEEAE-9E6D-4D4D-8856-4C344B4F3416}"/>
              </a:ext>
            </a:extLst>
          </p:cNvPr>
          <p:cNvSpPr txBox="1"/>
          <p:nvPr/>
        </p:nvSpPr>
        <p:spPr>
          <a:xfrm>
            <a:off x="1598247" y="3507506"/>
            <a:ext cx="1896308" cy="9868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500" b="1" i="0" u="none" strike="noStrike" kern="1200" cap="none" spc="0" normalizeH="0" baseline="0" noProof="0" dirty="0">
                <a:ln>
                  <a:noFill/>
                </a:ln>
                <a:solidFill>
                  <a:srgbClr val="8EC640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КАПИТАЛ</a:t>
            </a:r>
          </a:p>
          <a:p>
            <a:pPr marL="0" marR="0" lvl="1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$10-50 млн. будут выделяться поэтапно</a:t>
            </a:r>
          </a:p>
          <a:p>
            <a:pPr marL="0" marR="0" lvl="1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Кредитное плечо инвестиций 30X</a:t>
            </a: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1CA66CF6-8ADA-491F-B2D8-8DB42178AEBA}"/>
              </a:ext>
            </a:extLst>
          </p:cNvPr>
          <p:cNvSpPr/>
          <p:nvPr/>
        </p:nvSpPr>
        <p:spPr>
          <a:xfrm>
            <a:off x="3656480" y="2138492"/>
            <a:ext cx="616159" cy="616159"/>
          </a:xfrm>
          <a:custGeom>
            <a:avLst/>
            <a:gdLst>
              <a:gd name="connsiteX0" fmla="*/ 0 w 1502833"/>
              <a:gd name="connsiteY0" fmla="*/ 751417 h 1502833"/>
              <a:gd name="connsiteX1" fmla="*/ 751417 w 1502833"/>
              <a:gd name="connsiteY1" fmla="*/ 0 h 1502833"/>
              <a:gd name="connsiteX2" fmla="*/ 1502834 w 1502833"/>
              <a:gd name="connsiteY2" fmla="*/ 751417 h 1502833"/>
              <a:gd name="connsiteX3" fmla="*/ 751417 w 1502833"/>
              <a:gd name="connsiteY3" fmla="*/ 1502834 h 1502833"/>
              <a:gd name="connsiteX4" fmla="*/ 0 w 1502833"/>
              <a:gd name="connsiteY4" fmla="*/ 751417 h 1502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2833" h="1502833">
                <a:moveTo>
                  <a:pt x="0" y="751417"/>
                </a:moveTo>
                <a:cubicBezTo>
                  <a:pt x="0" y="336421"/>
                  <a:pt x="336421" y="0"/>
                  <a:pt x="751417" y="0"/>
                </a:cubicBezTo>
                <a:cubicBezTo>
                  <a:pt x="1166413" y="0"/>
                  <a:pt x="1502834" y="336421"/>
                  <a:pt x="1502834" y="751417"/>
                </a:cubicBezTo>
                <a:cubicBezTo>
                  <a:pt x="1502834" y="1166413"/>
                  <a:pt x="1166413" y="1502834"/>
                  <a:pt x="751417" y="1502834"/>
                </a:cubicBezTo>
                <a:cubicBezTo>
                  <a:pt x="336421" y="1502834"/>
                  <a:pt x="0" y="1166413"/>
                  <a:pt x="0" y="751417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74589" tIns="174589" rIns="174589" bIns="174589" numCol="1" spcCol="1270" anchor="ctr" anchorCtr="0">
            <a:noAutofit/>
          </a:bodyPr>
          <a:lstStyle/>
          <a:p>
            <a:pPr marL="0" marR="0" lvl="0" indent="0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6EC77E4A-5F2D-41E8-9EF9-6CE9C572306C}"/>
              </a:ext>
            </a:extLst>
          </p:cNvPr>
          <p:cNvSpPr/>
          <p:nvPr/>
        </p:nvSpPr>
        <p:spPr>
          <a:xfrm>
            <a:off x="4010932" y="3359379"/>
            <a:ext cx="616159" cy="616159"/>
          </a:xfrm>
          <a:custGeom>
            <a:avLst/>
            <a:gdLst>
              <a:gd name="connsiteX0" fmla="*/ 0 w 1502833"/>
              <a:gd name="connsiteY0" fmla="*/ 751417 h 1502833"/>
              <a:gd name="connsiteX1" fmla="*/ 751417 w 1502833"/>
              <a:gd name="connsiteY1" fmla="*/ 0 h 1502833"/>
              <a:gd name="connsiteX2" fmla="*/ 1502834 w 1502833"/>
              <a:gd name="connsiteY2" fmla="*/ 751417 h 1502833"/>
              <a:gd name="connsiteX3" fmla="*/ 751417 w 1502833"/>
              <a:gd name="connsiteY3" fmla="*/ 1502834 h 1502833"/>
              <a:gd name="connsiteX4" fmla="*/ 0 w 1502833"/>
              <a:gd name="connsiteY4" fmla="*/ 751417 h 1502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2833" h="1502833">
                <a:moveTo>
                  <a:pt x="0" y="751417"/>
                </a:moveTo>
                <a:cubicBezTo>
                  <a:pt x="0" y="336421"/>
                  <a:pt x="336421" y="0"/>
                  <a:pt x="751417" y="0"/>
                </a:cubicBezTo>
                <a:cubicBezTo>
                  <a:pt x="1166413" y="0"/>
                  <a:pt x="1502834" y="336421"/>
                  <a:pt x="1502834" y="751417"/>
                </a:cubicBezTo>
                <a:cubicBezTo>
                  <a:pt x="1502834" y="1166413"/>
                  <a:pt x="1166413" y="1502834"/>
                  <a:pt x="751417" y="1502834"/>
                </a:cubicBezTo>
                <a:cubicBezTo>
                  <a:pt x="336421" y="1502834"/>
                  <a:pt x="0" y="1166413"/>
                  <a:pt x="0" y="751417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rgbClr val="0070C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74589" tIns="174589" rIns="174589" bIns="174589" numCol="1" spcCol="1270" anchor="ctr" anchorCtr="0">
            <a:noAutofit/>
          </a:bodyPr>
          <a:lstStyle/>
          <a:p>
            <a:pPr marL="0" marR="0" lvl="0" indent="0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63BCA0E1-CC10-4F56-84FC-8D05D2305BE9}"/>
              </a:ext>
            </a:extLst>
          </p:cNvPr>
          <p:cNvSpPr/>
          <p:nvPr/>
        </p:nvSpPr>
        <p:spPr>
          <a:xfrm>
            <a:off x="5099371" y="4151682"/>
            <a:ext cx="616159" cy="616159"/>
          </a:xfrm>
          <a:custGeom>
            <a:avLst/>
            <a:gdLst>
              <a:gd name="connsiteX0" fmla="*/ 0 w 1502833"/>
              <a:gd name="connsiteY0" fmla="*/ 751417 h 1502833"/>
              <a:gd name="connsiteX1" fmla="*/ 751417 w 1502833"/>
              <a:gd name="connsiteY1" fmla="*/ 0 h 1502833"/>
              <a:gd name="connsiteX2" fmla="*/ 1502834 w 1502833"/>
              <a:gd name="connsiteY2" fmla="*/ 751417 h 1502833"/>
              <a:gd name="connsiteX3" fmla="*/ 751417 w 1502833"/>
              <a:gd name="connsiteY3" fmla="*/ 1502834 h 1502833"/>
              <a:gd name="connsiteX4" fmla="*/ 0 w 1502833"/>
              <a:gd name="connsiteY4" fmla="*/ 751417 h 1502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2833" h="1502833">
                <a:moveTo>
                  <a:pt x="0" y="751417"/>
                </a:moveTo>
                <a:cubicBezTo>
                  <a:pt x="0" y="336421"/>
                  <a:pt x="336421" y="0"/>
                  <a:pt x="751417" y="0"/>
                </a:cubicBezTo>
                <a:cubicBezTo>
                  <a:pt x="1166413" y="0"/>
                  <a:pt x="1502834" y="336421"/>
                  <a:pt x="1502834" y="751417"/>
                </a:cubicBezTo>
                <a:cubicBezTo>
                  <a:pt x="1502834" y="1166413"/>
                  <a:pt x="1166413" y="1502834"/>
                  <a:pt x="751417" y="1502834"/>
                </a:cubicBezTo>
                <a:cubicBezTo>
                  <a:pt x="336421" y="1502834"/>
                  <a:pt x="0" y="1166413"/>
                  <a:pt x="0" y="751417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74589" tIns="174589" rIns="174589" bIns="174589" numCol="1" spcCol="1270" anchor="ctr" anchorCtr="0">
            <a:noAutofit/>
          </a:bodyPr>
          <a:lstStyle/>
          <a:p>
            <a:pPr marL="0" marR="0" lvl="0" indent="0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7924B7E5-C3C5-47BD-BB74-D7DC7FBD3B0C}"/>
              </a:ext>
            </a:extLst>
          </p:cNvPr>
          <p:cNvSpPr/>
          <p:nvPr/>
        </p:nvSpPr>
        <p:spPr>
          <a:xfrm>
            <a:off x="6442658" y="4147628"/>
            <a:ext cx="616159" cy="616159"/>
          </a:xfrm>
          <a:custGeom>
            <a:avLst/>
            <a:gdLst>
              <a:gd name="connsiteX0" fmla="*/ 0 w 1502833"/>
              <a:gd name="connsiteY0" fmla="*/ 751417 h 1502833"/>
              <a:gd name="connsiteX1" fmla="*/ 751417 w 1502833"/>
              <a:gd name="connsiteY1" fmla="*/ 0 h 1502833"/>
              <a:gd name="connsiteX2" fmla="*/ 1502834 w 1502833"/>
              <a:gd name="connsiteY2" fmla="*/ 751417 h 1502833"/>
              <a:gd name="connsiteX3" fmla="*/ 751417 w 1502833"/>
              <a:gd name="connsiteY3" fmla="*/ 1502834 h 1502833"/>
              <a:gd name="connsiteX4" fmla="*/ 0 w 1502833"/>
              <a:gd name="connsiteY4" fmla="*/ 751417 h 1502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2833" h="1502833">
                <a:moveTo>
                  <a:pt x="0" y="751417"/>
                </a:moveTo>
                <a:cubicBezTo>
                  <a:pt x="0" y="336421"/>
                  <a:pt x="336421" y="0"/>
                  <a:pt x="751417" y="0"/>
                </a:cubicBezTo>
                <a:cubicBezTo>
                  <a:pt x="1166413" y="0"/>
                  <a:pt x="1502834" y="336421"/>
                  <a:pt x="1502834" y="751417"/>
                </a:cubicBezTo>
                <a:cubicBezTo>
                  <a:pt x="1502834" y="1166413"/>
                  <a:pt x="1166413" y="1502834"/>
                  <a:pt x="751417" y="1502834"/>
                </a:cubicBezTo>
                <a:cubicBezTo>
                  <a:pt x="336421" y="1502834"/>
                  <a:pt x="0" y="1166413"/>
                  <a:pt x="0" y="751417"/>
                </a:cubicBezTo>
                <a:close/>
              </a:path>
            </a:pathLst>
          </a:custGeom>
          <a:solidFill>
            <a:schemeClr val="accent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74589" tIns="174589" rIns="174589" bIns="174589" numCol="1" spcCol="1270" anchor="ctr" anchorCtr="0">
            <a:noAutofit/>
          </a:bodyPr>
          <a:lstStyle/>
          <a:p>
            <a:pPr marL="0" marR="0" lvl="0" indent="0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D49E8E00-F858-42DD-BBEE-12D73F9E33DA}"/>
              </a:ext>
            </a:extLst>
          </p:cNvPr>
          <p:cNvSpPr/>
          <p:nvPr/>
        </p:nvSpPr>
        <p:spPr>
          <a:xfrm>
            <a:off x="7451551" y="3338168"/>
            <a:ext cx="616159" cy="616159"/>
          </a:xfrm>
          <a:custGeom>
            <a:avLst/>
            <a:gdLst>
              <a:gd name="connsiteX0" fmla="*/ 0 w 1502833"/>
              <a:gd name="connsiteY0" fmla="*/ 751417 h 1502833"/>
              <a:gd name="connsiteX1" fmla="*/ 751417 w 1502833"/>
              <a:gd name="connsiteY1" fmla="*/ 0 h 1502833"/>
              <a:gd name="connsiteX2" fmla="*/ 1502834 w 1502833"/>
              <a:gd name="connsiteY2" fmla="*/ 751417 h 1502833"/>
              <a:gd name="connsiteX3" fmla="*/ 751417 w 1502833"/>
              <a:gd name="connsiteY3" fmla="*/ 1502834 h 1502833"/>
              <a:gd name="connsiteX4" fmla="*/ 0 w 1502833"/>
              <a:gd name="connsiteY4" fmla="*/ 751417 h 1502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2833" h="1502833">
                <a:moveTo>
                  <a:pt x="0" y="751417"/>
                </a:moveTo>
                <a:cubicBezTo>
                  <a:pt x="0" y="336421"/>
                  <a:pt x="336421" y="0"/>
                  <a:pt x="751417" y="0"/>
                </a:cubicBezTo>
                <a:cubicBezTo>
                  <a:pt x="1166413" y="0"/>
                  <a:pt x="1502834" y="336421"/>
                  <a:pt x="1502834" y="751417"/>
                </a:cubicBezTo>
                <a:cubicBezTo>
                  <a:pt x="1502834" y="1166413"/>
                  <a:pt x="1166413" y="1502834"/>
                  <a:pt x="751417" y="1502834"/>
                </a:cubicBezTo>
                <a:cubicBezTo>
                  <a:pt x="336421" y="1502834"/>
                  <a:pt x="0" y="1166413"/>
                  <a:pt x="0" y="751417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74589" tIns="174589" rIns="174589" bIns="174589" numCol="1" spcCol="1270" anchor="ctr" anchorCtr="0">
            <a:noAutofit/>
          </a:bodyPr>
          <a:lstStyle/>
          <a:p>
            <a:pPr marL="0" marR="0" lvl="0" indent="0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7D314B36-7A37-4F31-A24F-EFC2980D8E18}"/>
              </a:ext>
            </a:extLst>
          </p:cNvPr>
          <p:cNvSpPr/>
          <p:nvPr/>
        </p:nvSpPr>
        <p:spPr>
          <a:xfrm>
            <a:off x="7827154" y="2133070"/>
            <a:ext cx="616159" cy="616159"/>
          </a:xfrm>
          <a:custGeom>
            <a:avLst/>
            <a:gdLst>
              <a:gd name="connsiteX0" fmla="*/ 0 w 1502833"/>
              <a:gd name="connsiteY0" fmla="*/ 751417 h 1502833"/>
              <a:gd name="connsiteX1" fmla="*/ 751417 w 1502833"/>
              <a:gd name="connsiteY1" fmla="*/ 0 h 1502833"/>
              <a:gd name="connsiteX2" fmla="*/ 1502834 w 1502833"/>
              <a:gd name="connsiteY2" fmla="*/ 751417 h 1502833"/>
              <a:gd name="connsiteX3" fmla="*/ 751417 w 1502833"/>
              <a:gd name="connsiteY3" fmla="*/ 1502834 h 1502833"/>
              <a:gd name="connsiteX4" fmla="*/ 0 w 1502833"/>
              <a:gd name="connsiteY4" fmla="*/ 751417 h 1502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2833" h="1502833">
                <a:moveTo>
                  <a:pt x="0" y="751417"/>
                </a:moveTo>
                <a:cubicBezTo>
                  <a:pt x="0" y="336421"/>
                  <a:pt x="336421" y="0"/>
                  <a:pt x="751417" y="0"/>
                </a:cubicBezTo>
                <a:cubicBezTo>
                  <a:pt x="1166413" y="0"/>
                  <a:pt x="1502834" y="336421"/>
                  <a:pt x="1502834" y="751417"/>
                </a:cubicBezTo>
                <a:cubicBezTo>
                  <a:pt x="1502834" y="1166413"/>
                  <a:pt x="1166413" y="1502834"/>
                  <a:pt x="751417" y="1502834"/>
                </a:cubicBezTo>
                <a:cubicBezTo>
                  <a:pt x="336421" y="1502834"/>
                  <a:pt x="0" y="1166413"/>
                  <a:pt x="0" y="751417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74589" tIns="174589" rIns="174589" bIns="174589" numCol="1" spcCol="1270" anchor="ctr" anchorCtr="0">
            <a:noAutofit/>
          </a:bodyPr>
          <a:lstStyle/>
          <a:p>
            <a:pPr marL="0" marR="0" lvl="0" indent="0" algn="l" defTabSz="33337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83A69139-1FAD-4E9F-BE09-007B6C1AC3B0}"/>
              </a:ext>
            </a:extLst>
          </p:cNvPr>
          <p:cNvCxnSpPr>
            <a:cxnSpLocks/>
          </p:cNvCxnSpPr>
          <p:nvPr/>
        </p:nvCxnSpPr>
        <p:spPr>
          <a:xfrm>
            <a:off x="4282004" y="2441149"/>
            <a:ext cx="685800" cy="0"/>
          </a:xfrm>
          <a:prstGeom prst="line">
            <a:avLst/>
          </a:prstGeom>
          <a:ln w="28575">
            <a:solidFill>
              <a:schemeClr val="bg2">
                <a:lumMod val="60000"/>
                <a:lumOff val="4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5E3A4E0B-8249-43C8-8688-0A1AAD4DFA60}"/>
              </a:ext>
            </a:extLst>
          </p:cNvPr>
          <p:cNvCxnSpPr>
            <a:cxnSpLocks/>
          </p:cNvCxnSpPr>
          <p:nvPr/>
        </p:nvCxnSpPr>
        <p:spPr>
          <a:xfrm flipV="1">
            <a:off x="4568258" y="3063661"/>
            <a:ext cx="541172" cy="413910"/>
          </a:xfrm>
          <a:prstGeom prst="line">
            <a:avLst/>
          </a:prstGeom>
          <a:ln w="28575">
            <a:solidFill>
              <a:schemeClr val="bg2">
                <a:lumMod val="60000"/>
                <a:lumOff val="4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71C3F170-D98F-4348-8A89-48DEBA98DC2B}"/>
              </a:ext>
            </a:extLst>
          </p:cNvPr>
          <p:cNvCxnSpPr>
            <a:cxnSpLocks/>
          </p:cNvCxnSpPr>
          <p:nvPr/>
        </p:nvCxnSpPr>
        <p:spPr>
          <a:xfrm flipH="1" flipV="1">
            <a:off x="6361484" y="3484642"/>
            <a:ext cx="288760" cy="662876"/>
          </a:xfrm>
          <a:prstGeom prst="line">
            <a:avLst/>
          </a:prstGeom>
          <a:ln w="28575">
            <a:solidFill>
              <a:schemeClr val="bg2">
                <a:lumMod val="60000"/>
                <a:lumOff val="4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A449FD63-3020-42C3-A3F7-B5DC7AF7B338}"/>
              </a:ext>
            </a:extLst>
          </p:cNvPr>
          <p:cNvCxnSpPr>
            <a:cxnSpLocks/>
          </p:cNvCxnSpPr>
          <p:nvPr/>
        </p:nvCxnSpPr>
        <p:spPr>
          <a:xfrm flipH="1" flipV="1">
            <a:off x="6950210" y="3085509"/>
            <a:ext cx="547589" cy="388710"/>
          </a:xfrm>
          <a:prstGeom prst="line">
            <a:avLst/>
          </a:prstGeom>
          <a:ln w="28575">
            <a:solidFill>
              <a:schemeClr val="bg2">
                <a:lumMod val="60000"/>
                <a:lumOff val="4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D13B91BE-0939-40A4-9DB9-7A588FB7472E}"/>
              </a:ext>
            </a:extLst>
          </p:cNvPr>
          <p:cNvCxnSpPr/>
          <p:nvPr/>
        </p:nvCxnSpPr>
        <p:spPr>
          <a:xfrm>
            <a:off x="7134283" y="2441148"/>
            <a:ext cx="685800" cy="0"/>
          </a:xfrm>
          <a:prstGeom prst="line">
            <a:avLst/>
          </a:prstGeom>
          <a:ln w="28575">
            <a:solidFill>
              <a:schemeClr val="bg2">
                <a:lumMod val="60000"/>
                <a:lumOff val="40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69649D61-5444-4FCC-981D-CA03A9A3DE94}"/>
              </a:ext>
            </a:extLst>
          </p:cNvPr>
          <p:cNvCxnSpPr>
            <a:cxnSpLocks/>
          </p:cNvCxnSpPr>
          <p:nvPr/>
        </p:nvCxnSpPr>
        <p:spPr>
          <a:xfrm flipV="1">
            <a:off x="5507204" y="3477805"/>
            <a:ext cx="252387" cy="678648"/>
          </a:xfrm>
          <a:prstGeom prst="line">
            <a:avLst/>
          </a:prstGeom>
          <a:ln w="28575">
            <a:solidFill>
              <a:schemeClr val="bg2">
                <a:lumMod val="60000"/>
                <a:lumOff val="4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val 56">
            <a:extLst>
              <a:ext uri="{FF2B5EF4-FFF2-40B4-BE49-F238E27FC236}">
                <a16:creationId xmlns:a16="http://schemas.microsoft.com/office/drawing/2014/main" id="{523F96E2-6563-48F1-A3F8-5D9EA2E88208}"/>
              </a:ext>
            </a:extLst>
          </p:cNvPr>
          <p:cNvSpPr/>
          <p:nvPr/>
        </p:nvSpPr>
        <p:spPr>
          <a:xfrm>
            <a:off x="5046365" y="1848842"/>
            <a:ext cx="1958685" cy="1441254"/>
          </a:xfrm>
          <a:prstGeom prst="ellipse">
            <a:avLst/>
          </a:prstGeom>
          <a:solidFill>
            <a:schemeClr val="bg1"/>
          </a:solidFill>
          <a:ln w="152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ctr" anchorCtr="0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Kontrapunkt Bob" panose="02000000000000000000" pitchFamily="50" charset="0"/>
                <a:ea typeface="+mn-ea"/>
                <a:cs typeface="+mn-cs"/>
              </a:rPr>
              <a:t>ФППКУР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23F4F">
                  <a:lumMod val="50000"/>
                </a:srgbClr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pic>
        <p:nvPicPr>
          <p:cNvPr id="76" name="Graphic 75" descr="Coins outline">
            <a:extLst>
              <a:ext uri="{FF2B5EF4-FFF2-40B4-BE49-F238E27FC236}">
                <a16:creationId xmlns:a16="http://schemas.microsoft.com/office/drawing/2014/main" id="{5078DE03-ACFC-4DB0-9BBA-4D91AD0E922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58818" y="2232311"/>
            <a:ext cx="417674" cy="417674"/>
          </a:xfrm>
          <a:prstGeom prst="rect">
            <a:avLst/>
          </a:prstGeom>
        </p:spPr>
      </p:pic>
      <p:pic>
        <p:nvPicPr>
          <p:cNvPr id="84" name="Graphic 83" descr="Clipboard Partially Checked">
            <a:extLst>
              <a:ext uri="{FF2B5EF4-FFF2-40B4-BE49-F238E27FC236}">
                <a16:creationId xmlns:a16="http://schemas.microsoft.com/office/drawing/2014/main" id="{50A3D7E8-06B1-4723-87D9-C0D61B96C0E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112507" y="3462370"/>
            <a:ext cx="404099" cy="410174"/>
          </a:xfrm>
          <a:prstGeom prst="rect">
            <a:avLst/>
          </a:prstGeom>
        </p:spPr>
      </p:pic>
      <p:pic>
        <p:nvPicPr>
          <p:cNvPr id="85" name="Graphic 84" descr="Person with idea">
            <a:extLst>
              <a:ext uri="{FF2B5EF4-FFF2-40B4-BE49-F238E27FC236}">
                <a16:creationId xmlns:a16="http://schemas.microsoft.com/office/drawing/2014/main" id="{40C3F923-408F-4E83-81F1-DC708B3CE27B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535277" y="3443917"/>
            <a:ext cx="442349" cy="442349"/>
          </a:xfrm>
          <a:prstGeom prst="rect">
            <a:avLst/>
          </a:prstGeom>
        </p:spPr>
      </p:pic>
      <p:pic>
        <p:nvPicPr>
          <p:cNvPr id="86" name="Graphic 85" descr="Cheers outline">
            <a:extLst>
              <a:ext uri="{FF2B5EF4-FFF2-40B4-BE49-F238E27FC236}">
                <a16:creationId xmlns:a16="http://schemas.microsoft.com/office/drawing/2014/main" id="{EB694FAF-FCC3-4E21-9ACA-7C5692407F17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931538" y="2248007"/>
            <a:ext cx="397124" cy="397124"/>
          </a:xfrm>
          <a:prstGeom prst="rect">
            <a:avLst/>
          </a:prstGeom>
        </p:spPr>
      </p:pic>
      <p:pic>
        <p:nvPicPr>
          <p:cNvPr id="89" name="Graphic 88" descr="Train outline">
            <a:extLst>
              <a:ext uri="{FF2B5EF4-FFF2-40B4-BE49-F238E27FC236}">
                <a16:creationId xmlns:a16="http://schemas.microsoft.com/office/drawing/2014/main" id="{EF0FD198-E976-40EF-94C5-9829189C6662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215618" y="4285934"/>
            <a:ext cx="398318" cy="398318"/>
          </a:xfrm>
          <a:prstGeom prst="rect">
            <a:avLst/>
          </a:prstGeom>
        </p:spPr>
      </p:pic>
      <p:pic>
        <p:nvPicPr>
          <p:cNvPr id="90" name="Graphic 89" descr="Handshake">
            <a:extLst>
              <a:ext uri="{FF2B5EF4-FFF2-40B4-BE49-F238E27FC236}">
                <a16:creationId xmlns:a16="http://schemas.microsoft.com/office/drawing/2014/main" id="{24F1CCBF-96F3-4DEC-A86E-4FA1F20901C8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6527104" y="4259695"/>
            <a:ext cx="447548" cy="447548"/>
          </a:xfrm>
          <a:prstGeom prst="rect">
            <a:avLst/>
          </a:prstGeom>
        </p:spPr>
      </p:pic>
      <p:sp>
        <p:nvSpPr>
          <p:cNvPr id="92" name="Oval 91">
            <a:extLst>
              <a:ext uri="{FF2B5EF4-FFF2-40B4-BE49-F238E27FC236}">
                <a16:creationId xmlns:a16="http://schemas.microsoft.com/office/drawing/2014/main" id="{ADDB5895-D2F1-4B60-94D0-A026729FDE54}"/>
              </a:ext>
            </a:extLst>
          </p:cNvPr>
          <p:cNvSpPr/>
          <p:nvPr/>
        </p:nvSpPr>
        <p:spPr>
          <a:xfrm>
            <a:off x="4913249" y="2374416"/>
            <a:ext cx="137160" cy="13716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6BA4A7EF-3291-4940-BF61-40C7B08B02C2}"/>
              </a:ext>
            </a:extLst>
          </p:cNvPr>
          <p:cNvSpPr/>
          <p:nvPr/>
        </p:nvSpPr>
        <p:spPr>
          <a:xfrm>
            <a:off x="4947539" y="2406858"/>
            <a:ext cx="68580" cy="68580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662A899A-04CE-46C4-BE60-91DA21611CDB}"/>
              </a:ext>
            </a:extLst>
          </p:cNvPr>
          <p:cNvSpPr/>
          <p:nvPr/>
        </p:nvSpPr>
        <p:spPr>
          <a:xfrm>
            <a:off x="5058063" y="2976277"/>
            <a:ext cx="137160" cy="13716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81E2567A-4EF8-4A68-9092-AF59AA9F6889}"/>
              </a:ext>
            </a:extLst>
          </p:cNvPr>
          <p:cNvSpPr/>
          <p:nvPr/>
        </p:nvSpPr>
        <p:spPr>
          <a:xfrm>
            <a:off x="5092353" y="3008718"/>
            <a:ext cx="68580" cy="68580"/>
          </a:xfrm>
          <a:prstGeom prst="ellipse">
            <a:avLst/>
          </a:prstGeom>
          <a:solidFill>
            <a:srgbClr val="8EC64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C1E97395-9CEE-444A-8116-6DFFFAD99993}"/>
              </a:ext>
            </a:extLst>
          </p:cNvPr>
          <p:cNvSpPr/>
          <p:nvPr/>
        </p:nvSpPr>
        <p:spPr>
          <a:xfrm>
            <a:off x="5699960" y="3386187"/>
            <a:ext cx="137160" cy="13716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A7877EAE-3720-4D8F-BDD8-96E933B6A1E5}"/>
              </a:ext>
            </a:extLst>
          </p:cNvPr>
          <p:cNvSpPr/>
          <p:nvPr/>
        </p:nvSpPr>
        <p:spPr>
          <a:xfrm>
            <a:off x="5734250" y="3418628"/>
            <a:ext cx="68580" cy="68580"/>
          </a:xfrm>
          <a:prstGeom prst="ellipse">
            <a:avLst/>
          </a:prstGeom>
          <a:solidFill>
            <a:srgbClr val="F1C62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84799EF8-8ACC-4212-B1E3-951AC09A872E}"/>
              </a:ext>
            </a:extLst>
          </p:cNvPr>
          <p:cNvSpPr/>
          <p:nvPr/>
        </p:nvSpPr>
        <p:spPr>
          <a:xfrm>
            <a:off x="6301853" y="3429928"/>
            <a:ext cx="137160" cy="13716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68FF01E5-82A2-4AA7-B89E-2E45F92573FE}"/>
              </a:ext>
            </a:extLst>
          </p:cNvPr>
          <p:cNvSpPr/>
          <p:nvPr/>
        </p:nvSpPr>
        <p:spPr>
          <a:xfrm>
            <a:off x="6336143" y="3462369"/>
            <a:ext cx="68580" cy="68580"/>
          </a:xfrm>
          <a:prstGeom prst="ellipse">
            <a:avLst/>
          </a:prstGeom>
          <a:solidFill>
            <a:srgbClr val="00B0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C59641B6-8054-4990-9571-E7027315F245}"/>
              </a:ext>
            </a:extLst>
          </p:cNvPr>
          <p:cNvSpPr/>
          <p:nvPr/>
        </p:nvSpPr>
        <p:spPr>
          <a:xfrm>
            <a:off x="6881630" y="3006693"/>
            <a:ext cx="137160" cy="13716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2A43A540-BD06-406F-A985-6926C164D245}"/>
              </a:ext>
            </a:extLst>
          </p:cNvPr>
          <p:cNvSpPr/>
          <p:nvPr/>
        </p:nvSpPr>
        <p:spPr>
          <a:xfrm>
            <a:off x="6915920" y="3039135"/>
            <a:ext cx="68580" cy="68580"/>
          </a:xfrm>
          <a:prstGeom prst="ellipse">
            <a:avLst/>
          </a:prstGeom>
          <a:solidFill>
            <a:srgbClr val="0070C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8975AE13-9293-4255-81BB-AD92B11D1896}"/>
              </a:ext>
            </a:extLst>
          </p:cNvPr>
          <p:cNvSpPr/>
          <p:nvPr/>
        </p:nvSpPr>
        <p:spPr>
          <a:xfrm>
            <a:off x="7050221" y="2366689"/>
            <a:ext cx="137160" cy="13716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D2CBA57B-4923-47AF-A361-3E0A756C2E13}"/>
              </a:ext>
            </a:extLst>
          </p:cNvPr>
          <p:cNvSpPr/>
          <p:nvPr/>
        </p:nvSpPr>
        <p:spPr>
          <a:xfrm>
            <a:off x="7084511" y="2399130"/>
            <a:ext cx="68580" cy="68580"/>
          </a:xfrm>
          <a:prstGeom prst="ellipse">
            <a:avLst/>
          </a:prstGeom>
          <a:solidFill>
            <a:srgbClr val="F29B2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F03B891-1207-4953-81EB-F28749FBD3FB}"/>
              </a:ext>
            </a:extLst>
          </p:cNvPr>
          <p:cNvSpPr txBox="1"/>
          <p:nvPr/>
        </p:nvSpPr>
        <p:spPr>
          <a:xfrm>
            <a:off x="2491949" y="961959"/>
            <a:ext cx="709814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ctr" defTabSz="266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20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Трастовый фонд с несколькими (одним) донорами, которым управляет АБР (CWRD)</a:t>
            </a:r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BF0E662B-FF95-4196-E340-E27D720B3BA6}"/>
              </a:ext>
            </a:extLst>
          </p:cNvPr>
          <p:cNvSpPr txBox="1">
            <a:spLocks/>
          </p:cNvSpPr>
          <p:nvPr/>
        </p:nvSpPr>
        <p:spPr>
          <a:xfrm>
            <a:off x="2162001" y="207471"/>
            <a:ext cx="7758044" cy="7571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800" b="1" i="0" u="none" strike="noStrike" cap="none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ea typeface="Malgun Gothic" panose="020B0503020000020004" pitchFamily="34" charset="-127"/>
                <a:cs typeface="Times New Roman" panose="02020603050405020304" pitchFamily="18" charset="0"/>
              </a:defRPr>
            </a:lvl1pPr>
          </a:lstStyle>
          <a:p>
            <a:pPr marL="0" marR="0" lvl="0" indent="0" algn="ctr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Фонд подготовки проектов по климату и устойчивому развитию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 </a:t>
            </a:r>
            <a:r>
              <a:rPr kumimoji="0" lang="ru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ЦАРЭС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algun Gothic" panose="020B0503020000020004" pitchFamily="34" charset="-127"/>
              <a:cs typeface="Calibri" panose="020F050202020403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FB9615A-8088-83FB-44AE-DE4B7D00E5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81950" y="6356351"/>
            <a:ext cx="2057400" cy="365125"/>
          </a:xfrm>
        </p:spPr>
        <p:txBody>
          <a:bodyPr>
            <a:norm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8BC67CEA-C73E-4EA1-9E3F-137A40803C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70380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796" name="Group 16"/>
          <p:cNvGrpSpPr>
            <a:grpSpLocks/>
          </p:cNvGrpSpPr>
          <p:nvPr/>
        </p:nvGrpSpPr>
        <p:grpSpPr bwMode="auto">
          <a:xfrm>
            <a:off x="687475" y="932688"/>
            <a:ext cx="10632278" cy="5760163"/>
            <a:chOff x="930275" y="1844675"/>
            <a:chExt cx="7390309" cy="3589338"/>
          </a:xfrm>
        </p:grpSpPr>
        <p:sp>
          <p:nvSpPr>
            <p:cNvPr id="33799" name="Arc 2"/>
            <p:cNvSpPr>
              <a:spLocks/>
            </p:cNvSpPr>
            <p:nvPr/>
          </p:nvSpPr>
          <p:spPr bwMode="auto">
            <a:xfrm>
              <a:off x="1914525" y="2397715"/>
              <a:ext cx="5294313" cy="2202340"/>
            </a:xfrm>
            <a:custGeom>
              <a:avLst/>
              <a:gdLst>
                <a:gd name="T0" fmla="*/ 0 w 43200"/>
                <a:gd name="T1" fmla="*/ 2147483647 h 21715"/>
                <a:gd name="T2" fmla="*/ 2147483647 w 43200"/>
                <a:gd name="T3" fmla="*/ 2147483647 h 21715"/>
                <a:gd name="T4" fmla="*/ 2147483647 w 43200"/>
                <a:gd name="T5" fmla="*/ 2147483647 h 21715"/>
                <a:gd name="T6" fmla="*/ 0 60000 65536"/>
                <a:gd name="T7" fmla="*/ 0 60000 65536"/>
                <a:gd name="T8" fmla="*/ 0 60000 65536"/>
                <a:gd name="T9" fmla="*/ 0 w 43200"/>
                <a:gd name="T10" fmla="*/ 0 h 21715"/>
                <a:gd name="T11" fmla="*/ 43200 w 43200"/>
                <a:gd name="T12" fmla="*/ 21715 h 2171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21715" fill="none" extrusionOk="0">
                  <a:moveTo>
                    <a:pt x="0" y="21714"/>
                  </a:moveTo>
                  <a:cubicBezTo>
                    <a:pt x="0" y="21676"/>
                    <a:pt x="0" y="21638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-1"/>
                    <a:pt x="43199" y="9670"/>
                    <a:pt x="43200" y="21599"/>
                  </a:cubicBezTo>
                </a:path>
                <a:path w="43200" h="21715" stroke="0" extrusionOk="0">
                  <a:moveTo>
                    <a:pt x="0" y="21714"/>
                  </a:moveTo>
                  <a:cubicBezTo>
                    <a:pt x="0" y="21676"/>
                    <a:pt x="0" y="21638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-1"/>
                    <a:pt x="43199" y="9670"/>
                    <a:pt x="43200" y="21599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635000">
              <a:solidFill>
                <a:srgbClr val="002776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00" name="AutoShape 4"/>
            <p:cNvSpPr>
              <a:spLocks noChangeArrowheads="1"/>
            </p:cNvSpPr>
            <p:nvPr/>
          </p:nvSpPr>
          <p:spPr bwMode="auto">
            <a:xfrm flipV="1">
              <a:off x="3322638" y="4411663"/>
              <a:ext cx="2473325" cy="241300"/>
            </a:xfrm>
            <a:prstGeom prst="triangle">
              <a:avLst>
                <a:gd name="adj" fmla="val 50000"/>
              </a:avLst>
            </a:prstGeom>
            <a:solidFill>
              <a:srgbClr val="002776"/>
            </a:solidFill>
            <a:ln w="6350" algn="ctr">
              <a:noFill/>
              <a:miter lim="800000"/>
              <a:headEnd/>
              <a:tailEnd/>
            </a:ln>
          </p:spPr>
          <p:txBody>
            <a:bodyPr rot="10800000" tIns="91440" bIns="9144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01" name="Oval 5"/>
            <p:cNvSpPr>
              <a:spLocks noChangeArrowheads="1"/>
            </p:cNvSpPr>
            <p:nvPr/>
          </p:nvSpPr>
          <p:spPr bwMode="gray">
            <a:xfrm>
              <a:off x="990496" y="3685439"/>
              <a:ext cx="1738313" cy="876300"/>
            </a:xfrm>
            <a:prstGeom prst="ellipse">
              <a:avLst/>
            </a:prstGeom>
            <a:solidFill>
              <a:schemeClr val="bg1"/>
            </a:solidFill>
            <a:ln w="28575" algn="ctr">
              <a:solidFill>
                <a:srgbClr val="002776"/>
              </a:solidFill>
              <a:round/>
              <a:headEnd/>
              <a:tailEnd/>
            </a:ln>
          </p:spPr>
          <p:txBody>
            <a:bodyPr lIns="18000" tIns="18000" rIns="18000" bIns="18000" anchor="ctr" anchorCtr="1"/>
            <a:lstStyle/>
            <a:p>
              <a:pPr marL="0" marR="0" lvl="0" indent="0" algn="ctr" defTabSz="4572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ＭＳ Ｐゴシック" pitchFamily="34" charset="-128"/>
                  <a:cs typeface="+mn-cs"/>
                </a:rPr>
                <a:t>Ориентированы на ЦАРЭС; лучшая координация и контроль рисков</a:t>
              </a:r>
            </a:p>
          </p:txBody>
        </p:sp>
        <p:sp>
          <p:nvSpPr>
            <p:cNvPr id="33802" name="Oval 6"/>
            <p:cNvSpPr>
              <a:spLocks noChangeArrowheads="1"/>
            </p:cNvSpPr>
            <p:nvPr/>
          </p:nvSpPr>
          <p:spPr bwMode="gray">
            <a:xfrm>
              <a:off x="990496" y="2693427"/>
              <a:ext cx="2719292" cy="953696"/>
            </a:xfrm>
            <a:prstGeom prst="ellipse">
              <a:avLst/>
            </a:prstGeom>
            <a:solidFill>
              <a:schemeClr val="bg1"/>
            </a:solidFill>
            <a:ln w="28575" algn="ctr">
              <a:solidFill>
                <a:srgbClr val="002776"/>
              </a:solidFill>
              <a:round/>
              <a:headEnd/>
              <a:tailEnd/>
            </a:ln>
          </p:spPr>
          <p:txBody>
            <a:bodyPr lIns="18000" tIns="18000" rIns="18000" bIns="18000" anchor="ctr" anchorCtr="1"/>
            <a:lstStyle/>
            <a:p>
              <a:pPr marL="0" marR="0" lvl="0" indent="0" algn="ctr" defTabSz="4572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ＭＳ Ｐゴシック" pitchFamily="34" charset="-128"/>
                  <a:cs typeface="+mn-cs"/>
                </a:rPr>
                <a:t>Создание портфеля более экологически чистых, устойчивых к изменению климата и более жизнестойких региональных проектов.</a:t>
              </a:r>
            </a:p>
          </p:txBody>
        </p:sp>
        <p:sp>
          <p:nvSpPr>
            <p:cNvPr id="33803" name="Oval 7"/>
            <p:cNvSpPr>
              <a:spLocks noChangeArrowheads="1"/>
            </p:cNvSpPr>
            <p:nvPr/>
          </p:nvSpPr>
          <p:spPr bwMode="gray">
            <a:xfrm>
              <a:off x="2075431" y="1844675"/>
              <a:ext cx="2344169" cy="876300"/>
            </a:xfrm>
            <a:prstGeom prst="ellipse">
              <a:avLst/>
            </a:prstGeom>
            <a:solidFill>
              <a:schemeClr val="bg1"/>
            </a:solidFill>
            <a:ln w="28575" algn="ctr">
              <a:solidFill>
                <a:srgbClr val="002776"/>
              </a:solidFill>
              <a:round/>
              <a:headEnd/>
              <a:tailEnd/>
            </a:ln>
          </p:spPr>
          <p:txBody>
            <a:bodyPr lIns="18000" tIns="18000" rIns="18000" bIns="18000" anchor="ctr" anchorCtr="1"/>
            <a:lstStyle/>
            <a:p>
              <a:pPr marL="0" marR="0" lvl="0" indent="0" algn="ctr" defTabSz="4572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ＭＳ Ｐゴシック" pitchFamily="34" charset="-128"/>
                  <a:cs typeface="+mn-cs"/>
                </a:rPr>
                <a:t>Создание проектов, новые секторы, изменение климата, региональный фокус на ЦУР</a:t>
              </a:r>
            </a:p>
          </p:txBody>
        </p:sp>
        <p:sp>
          <p:nvSpPr>
            <p:cNvPr id="33804" name="Oval 8"/>
            <p:cNvSpPr>
              <a:spLocks noChangeArrowheads="1"/>
            </p:cNvSpPr>
            <p:nvPr/>
          </p:nvSpPr>
          <p:spPr bwMode="gray">
            <a:xfrm flipH="1">
              <a:off x="6229422" y="3692795"/>
              <a:ext cx="2091162" cy="876300"/>
            </a:xfrm>
            <a:prstGeom prst="ellipse">
              <a:avLst/>
            </a:prstGeom>
            <a:solidFill>
              <a:schemeClr val="bg1"/>
            </a:solidFill>
            <a:ln w="28575" algn="ctr">
              <a:solidFill>
                <a:srgbClr val="002776"/>
              </a:solidFill>
              <a:round/>
              <a:headEnd/>
              <a:tailEnd/>
            </a:ln>
          </p:spPr>
          <p:txBody>
            <a:bodyPr lIns="18000" tIns="18000" rIns="18000" bIns="18000" anchor="ctr" anchorCtr="1"/>
            <a:lstStyle/>
            <a:p>
              <a:pPr marL="0" marR="0" lvl="0" indent="0" algn="ctr" defTabSz="4572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r>
                <a:rPr kumimoji="0" lang="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ＭＳ Ｐゴシック" pitchFamily="34" charset="-128"/>
                  <a:cs typeface="+mn-cs"/>
                </a:rPr>
                <a:t>Поддерживает суверенные, суб-суверенные, несуверенные проекты и проекты ГЧП.</a:t>
              </a:r>
            </a:p>
          </p:txBody>
        </p:sp>
        <p:sp>
          <p:nvSpPr>
            <p:cNvPr id="33805" name="Oval 9"/>
            <p:cNvSpPr>
              <a:spLocks noChangeArrowheads="1"/>
            </p:cNvSpPr>
            <p:nvPr/>
          </p:nvSpPr>
          <p:spPr bwMode="gray">
            <a:xfrm flipH="1">
              <a:off x="5687125" y="2779556"/>
              <a:ext cx="1970975" cy="876300"/>
            </a:xfrm>
            <a:prstGeom prst="ellipse">
              <a:avLst/>
            </a:prstGeom>
            <a:solidFill>
              <a:schemeClr val="bg1"/>
            </a:solidFill>
            <a:ln w="28575" algn="ctr">
              <a:solidFill>
                <a:srgbClr val="002776"/>
              </a:solidFill>
              <a:round/>
              <a:headEnd/>
              <a:tailEnd/>
            </a:ln>
          </p:spPr>
          <p:txBody>
            <a:bodyPr lIns="18000" tIns="18000" rIns="18000" bIns="18000" anchor="ctr" anchorCtr="1"/>
            <a:lstStyle/>
            <a:p>
              <a:pPr marL="0" marR="0" lvl="0" indent="0" algn="ctr" defTabSz="4572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ＭＳ Ｐゴシック" pitchFamily="34" charset="-128"/>
                  <a:cs typeface="+mn-cs"/>
                </a:rPr>
                <a:t>Прочные отношения, присутствие и опыт АБР</a:t>
              </a:r>
            </a:p>
          </p:txBody>
        </p:sp>
        <p:sp>
          <p:nvSpPr>
            <p:cNvPr id="33806" name="Oval 10"/>
            <p:cNvSpPr>
              <a:spLocks noChangeArrowheads="1"/>
            </p:cNvSpPr>
            <p:nvPr/>
          </p:nvSpPr>
          <p:spPr bwMode="gray">
            <a:xfrm flipH="1">
              <a:off x="4705347" y="1844675"/>
              <a:ext cx="2546785" cy="992797"/>
            </a:xfrm>
            <a:prstGeom prst="ellipse">
              <a:avLst/>
            </a:prstGeom>
            <a:solidFill>
              <a:schemeClr val="bg1"/>
            </a:solidFill>
            <a:ln w="28575" algn="ctr">
              <a:solidFill>
                <a:srgbClr val="002776"/>
              </a:solidFill>
              <a:round/>
              <a:headEnd/>
              <a:tailEnd/>
            </a:ln>
          </p:spPr>
          <p:txBody>
            <a:bodyPr lIns="18000" tIns="18000" rIns="18000" bIns="18000" anchor="ctr" anchorCtr="1"/>
            <a:lstStyle/>
            <a:p>
              <a:pPr marL="0" marR="0" lvl="0" indent="0" algn="ctr" defTabSz="4572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ＭＳ Ｐゴシック" pitchFamily="34" charset="-128"/>
                  <a:cs typeface="+mn-cs"/>
                </a:rPr>
                <a:t>Устойчивость и приемлемость для банковского финансирования – конвертируемая ТП и гранты</a:t>
              </a:r>
            </a:p>
          </p:txBody>
        </p:sp>
        <p:sp>
          <p:nvSpPr>
            <p:cNvPr id="33807" name="Rectangle 11"/>
            <p:cNvSpPr>
              <a:spLocks noChangeArrowheads="1"/>
            </p:cNvSpPr>
            <p:nvPr/>
          </p:nvSpPr>
          <p:spPr bwMode="auto">
            <a:xfrm>
              <a:off x="1477963" y="4610100"/>
              <a:ext cx="890587" cy="3587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08" name="Rectangle 12"/>
            <p:cNvSpPr>
              <a:spLocks noChangeArrowheads="1"/>
            </p:cNvSpPr>
            <p:nvPr/>
          </p:nvSpPr>
          <p:spPr bwMode="auto">
            <a:xfrm>
              <a:off x="6800850" y="4610100"/>
              <a:ext cx="857250" cy="3714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09" name="Rectangle 13"/>
            <p:cNvSpPr>
              <a:spLocks noChangeArrowheads="1"/>
            </p:cNvSpPr>
            <p:nvPr/>
          </p:nvSpPr>
          <p:spPr bwMode="auto">
            <a:xfrm>
              <a:off x="930275" y="4795838"/>
              <a:ext cx="7258050" cy="638175"/>
            </a:xfrm>
            <a:prstGeom prst="rect">
              <a:avLst/>
            </a:prstGeom>
            <a:solidFill>
              <a:srgbClr val="002776"/>
            </a:solidFill>
            <a:ln w="6350" algn="ctr">
              <a:noFill/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altLang="ja-JP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Calibri" panose="020F0502020204030204"/>
                  <a:ea typeface="ＭＳ Ｐゴシック" pitchFamily="34" charset="-128"/>
                  <a:cs typeface="+mn-cs"/>
                </a:rPr>
                <a:t>ДОПОЛНЕНИЕ ЦЕННОСТИ И ДИФФЕРЕНЦИАЦИЯ </a:t>
              </a:r>
              <a:r>
                <a:rPr kumimoji="0" lang="ru-RU" altLang="ja-JP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Calibri" panose="020F0502020204030204"/>
                  <a:ea typeface="ＭＳ Ｐゴシック" pitchFamily="34" charset="-128"/>
                  <a:cs typeface="+mn-cs"/>
                </a:rPr>
                <a:t>ФППКУР</a:t>
              </a:r>
              <a:endParaRPr kumimoji="0" lang="ru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+mn-cs"/>
              </a:endParaRPr>
            </a:p>
          </p:txBody>
        </p:sp>
      </p:grpSp>
      <p:sp>
        <p:nvSpPr>
          <p:cNvPr id="33798" name="Rectangle 18"/>
          <p:cNvSpPr>
            <a:spLocks noChangeArrowheads="1"/>
          </p:cNvSpPr>
          <p:nvPr/>
        </p:nvSpPr>
        <p:spPr bwMode="auto">
          <a:xfrm>
            <a:off x="3645617" y="3976101"/>
            <a:ext cx="451591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53B5B80C-D073-36C0-66BD-047B9BFE42C4}"/>
              </a:ext>
            </a:extLst>
          </p:cNvPr>
          <p:cNvSpPr txBox="1">
            <a:spLocks/>
          </p:cNvSpPr>
          <p:nvPr/>
        </p:nvSpPr>
        <p:spPr>
          <a:xfrm>
            <a:off x="293914" y="242468"/>
            <a:ext cx="11898086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2800" b="1" i="0" u="none" strike="noStrike" cap="none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ea typeface="Malgun Gothic" panose="020B0503020000020004" pitchFamily="34" charset="-127"/>
                <a:cs typeface="Times New Roman" panose="02020603050405020304" pitchFamily="18" charset="0"/>
              </a:defRPr>
            </a:lvl1pPr>
          </a:lstStyle>
          <a:p>
            <a:pPr marL="0" marR="0" lvl="0" indent="0" algn="ctr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40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Malgun Gothic" panose="020B0503020000020004" pitchFamily="34" charset="-127"/>
                <a:cs typeface="Times New Roman" panose="02020603050405020304" pitchFamily="18" charset="0"/>
              </a:rPr>
              <a:t>Ключевые характеристики и добавленная стоимость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F5EDBC3-B4D2-402B-C1EE-57F4BDB4E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782595" y="6327726"/>
            <a:ext cx="2057400" cy="365125"/>
          </a:xfrm>
        </p:spPr>
        <p:txBody>
          <a:bodyPr>
            <a:norm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8BC67CEA-C73E-4EA1-9E3F-137A40803C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05BF79B-8ECC-F223-EDC7-77A36F12D2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0803" y="99753"/>
            <a:ext cx="7557174" cy="1633254"/>
          </a:xfrm>
        </p:spPr>
        <p:txBody>
          <a:bodyPr anchor="b">
            <a:noAutofit/>
          </a:bodyPr>
          <a:lstStyle/>
          <a:p>
            <a:br>
              <a:rPr lang="en-US" sz="1350" b="1"/>
            </a:br>
            <a:br>
              <a:rPr lang="en-US" sz="1125" b="1" i="1">
                <a:solidFill>
                  <a:schemeClr val="accent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1125" b="1">
              <a:solidFill>
                <a:schemeClr val="accent1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BEB30A8-3323-71FA-C1C0-542ACEEF36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0243" y="916380"/>
            <a:ext cx="11881757" cy="5691674"/>
          </a:xfrm>
        </p:spPr>
        <p:txBody>
          <a:bodyPr anchor="ctr">
            <a:noAutofit/>
          </a:bodyPr>
          <a:lstStyle/>
          <a:p>
            <a:pPr marL="0" indent="0">
              <a:buNone/>
            </a:pPr>
            <a:r>
              <a:rPr lang="ru" b="1" u="sng" dirty="0">
                <a:solidFill>
                  <a:srgbClr val="3960A5"/>
                </a:solidFill>
              </a:rPr>
              <a:t>Прогресс и следующие шаги</a:t>
            </a:r>
          </a:p>
          <a:p>
            <a:r>
              <a:rPr lang="ru" sz="2000" b="1" dirty="0"/>
              <a:t>Малая техническая помощь </a:t>
            </a:r>
            <a:r>
              <a:rPr lang="ru" sz="2000" dirty="0"/>
              <a:t>(утверждена в сентябре 2020 г.) – Завершен концептуальный отчет.</a:t>
            </a:r>
          </a:p>
          <a:p>
            <a:r>
              <a:rPr lang="ru" sz="2000" b="1" dirty="0"/>
              <a:t>ТП «Механизм для транзакций» </a:t>
            </a:r>
            <a:r>
              <a:rPr lang="ru" sz="2000" dirty="0"/>
              <a:t>(в процессе реализации) – для обеспечения финансирования подготовки региональных инфраструктурных проектов в ЦАРЭС и улучшения институционального потенциала. Текущие проекты: (i) </a:t>
            </a:r>
            <a:r>
              <a:rPr lang="ru" sz="2000" dirty="0">
                <a:solidFill>
                  <a:schemeClr val="accent1">
                    <a:lumMod val="75000"/>
                  </a:schemeClr>
                </a:solidFill>
              </a:rPr>
              <a:t>Проект КГЗ «Управление окружающей средой озера Иссык-Куль для устойчивого развития туризма» и (ii) Региональный проект усовершенствования пограничных служб (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РУПС</a:t>
            </a:r>
            <a:r>
              <a:rPr lang="ru" sz="2000" dirty="0">
                <a:solidFill>
                  <a:schemeClr val="accent1">
                    <a:lumMod val="75000"/>
                  </a:schemeClr>
                </a:solidFill>
              </a:rPr>
              <a:t>) Экономического коридора Алматы-Бишкек (ЭКАБ).</a:t>
            </a:r>
            <a:endParaRPr lang="en-US" sz="2000" dirty="0">
              <a:solidFill>
                <a:schemeClr val="accent1">
                  <a:lumMod val="75000"/>
                </a:schemeClr>
              </a:solidFill>
              <a:cs typeface="Calibri"/>
            </a:endParaRPr>
          </a:p>
          <a:p>
            <a:r>
              <a:rPr lang="ru" sz="2000" b="1" dirty="0"/>
              <a:t>Консультации с заинтересованными сторонами </a:t>
            </a:r>
            <a:r>
              <a:rPr lang="ru" sz="2000" dirty="0"/>
              <a:t>– внутренние консультации АБР и консультации с </a:t>
            </a:r>
            <a:r>
              <a:rPr lang="ru-RU" sz="2000" dirty="0"/>
              <a:t>д</a:t>
            </a:r>
            <a:r>
              <a:rPr lang="ru" sz="2000" dirty="0"/>
              <a:t>ругими управляющими фондами завершены. Концепция </a:t>
            </a:r>
            <a:r>
              <a:rPr lang="ru-RU" sz="2000" dirty="0"/>
              <a:t>ФППКУР</a:t>
            </a:r>
            <a:r>
              <a:rPr lang="ru" sz="2000" dirty="0"/>
              <a:t> рассмотрена всеми РСЧ ЦАРЭС, а комментарии/предложения отражены в концепции.</a:t>
            </a:r>
          </a:p>
          <a:p>
            <a:r>
              <a:rPr lang="ru" sz="2000" b="1" dirty="0"/>
              <a:t>Консультации с донорами </a:t>
            </a:r>
            <a:r>
              <a:rPr lang="ru" sz="2000" dirty="0"/>
              <a:t>(в процессе) – несколько раундов консультаций с донорами завершены и продолжаются (ЕС, Республика Корея, КНР, ЕС и т. д.) со значительным прогрессом.</a:t>
            </a:r>
          </a:p>
          <a:p>
            <a:r>
              <a:rPr lang="ru" sz="2000" b="1" dirty="0">
                <a:cs typeface="Calibri"/>
              </a:rPr>
              <a:t>Обязательства доноров </a:t>
            </a:r>
            <a:r>
              <a:rPr lang="ru" sz="2000" dirty="0">
                <a:cs typeface="Calibri"/>
              </a:rPr>
              <a:t>должны быть подтверждены в течение 1-го квартала 2024 года (например, Республика Корея).</a:t>
            </a:r>
            <a:endParaRPr lang="en-US" sz="2000" dirty="0"/>
          </a:p>
          <a:p>
            <a:r>
              <a:rPr lang="ru" sz="2000" b="1" dirty="0"/>
              <a:t>Цель – официально запустить </a:t>
            </a:r>
            <a:r>
              <a:rPr lang="ru" sz="2000" dirty="0"/>
              <a:t>Фонд на ежегодном собрании АБР в Тбилиси в 2024 году.</a:t>
            </a:r>
            <a:endParaRPr lang="en-US" sz="2000" b="1" u="sng" dirty="0">
              <a:solidFill>
                <a:srgbClr val="3960A5"/>
              </a:solidFill>
            </a:endParaRPr>
          </a:p>
          <a:p>
            <a:pPr marL="0" indent="0">
              <a:buNone/>
            </a:pPr>
            <a:endParaRPr lang="en-US" sz="3200" b="1" u="sng" dirty="0">
              <a:solidFill>
                <a:srgbClr val="3960A5"/>
              </a:solidFill>
              <a:ea typeface="Calibri"/>
              <a:cs typeface="Calibri"/>
            </a:endParaRPr>
          </a:p>
          <a:p>
            <a:pPr marL="0" indent="0">
              <a:buNone/>
            </a:pPr>
            <a:r>
              <a:rPr lang="ru" b="1" u="sng" dirty="0">
                <a:solidFill>
                  <a:srgbClr val="3960A5"/>
                </a:solidFill>
              </a:rPr>
              <a:t>Представляемый документ для Министерской конференции</a:t>
            </a:r>
            <a:endParaRPr lang="en-US" b="1" u="sng" dirty="0">
              <a:solidFill>
                <a:srgbClr val="3960A5"/>
              </a:solidFill>
              <a:cs typeface="Calibri"/>
            </a:endParaRPr>
          </a:p>
          <a:p>
            <a:r>
              <a:rPr lang="ru" sz="2000" b="1" dirty="0"/>
              <a:t>Концепция </a:t>
            </a:r>
            <a:r>
              <a:rPr lang="ru-RU" sz="2000" b="1" dirty="0"/>
              <a:t>ФППКУР</a:t>
            </a:r>
            <a:r>
              <a:rPr lang="ru" sz="2000" b="1" dirty="0"/>
              <a:t> </a:t>
            </a:r>
            <a:r>
              <a:rPr lang="ru" sz="2000" dirty="0"/>
              <a:t>представлена министрам для поддержки</a:t>
            </a:r>
            <a:endParaRPr lang="en-US" sz="2000" b="1" dirty="0"/>
          </a:p>
          <a:p>
            <a:pPr marL="0" indent="0">
              <a:buNone/>
            </a:pPr>
            <a:endParaRPr lang="en-US" sz="2000" dirty="0"/>
          </a:p>
          <a:p>
            <a:endParaRPr lang="en-US" sz="2000" b="1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F1FE142-B32E-C63D-A4E3-901D92019A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CE47BB-7310-46D8-81F3-6ABCEF98FE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62597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F31EE38-A458-C44D-4324-77A3D97041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31EE38-A458-C44D-4324-77A3D9704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1DF91F20-B96F-4F77-AC3E-2CDD3BAA10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2" y="0"/>
            <a:ext cx="1219200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D487F7-9050-4871-B351-34A72ADB29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484" y="-1"/>
            <a:ext cx="8111296" cy="6858000"/>
          </a:xfrm>
          <a:prstGeom prst="rect">
            <a:avLst/>
          </a:prstGeom>
          <a:gradFill>
            <a:gsLst>
              <a:gs pos="8000">
                <a:srgbClr val="000000">
                  <a:alpha val="94000"/>
                </a:srgbClr>
              </a:gs>
              <a:gs pos="100000">
                <a:schemeClr val="accent1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43C27DD-EF6A-4C48-9669-C2970E71A8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858281" y="-401562"/>
            <a:ext cx="6858004" cy="7661129"/>
          </a:xfrm>
          <a:prstGeom prst="rect">
            <a:avLst/>
          </a:prstGeom>
          <a:gradFill>
            <a:gsLst>
              <a:gs pos="0">
                <a:schemeClr val="accent1">
                  <a:alpha val="23000"/>
                </a:schemeClr>
              </a:gs>
              <a:gs pos="7100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0"/>
                </a:srgb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84384FE-1C88-4CAA-8FB8-2313A3AE73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7519" y="-1"/>
            <a:ext cx="8118331" cy="6858000"/>
          </a:xfrm>
          <a:prstGeom prst="rect">
            <a:avLst/>
          </a:prstGeom>
          <a:gradFill>
            <a:gsLst>
              <a:gs pos="14000">
                <a:schemeClr val="accent1">
                  <a:alpha val="0"/>
                </a:schemeClr>
              </a:gs>
              <a:gs pos="100000">
                <a:srgbClr val="000000">
                  <a:alpha val="82000"/>
                </a:srgb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87B6A113-58CD-406C-BCE4-6E1F1F2BE6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449520">
            <a:off x="2569700" y="983306"/>
            <a:ext cx="5005754" cy="5005754"/>
          </a:xfrm>
          <a:prstGeom prst="ellipse">
            <a:avLst/>
          </a:prstGeom>
          <a:gradFill>
            <a:gsLst>
              <a:gs pos="17000">
                <a:schemeClr val="accent1">
                  <a:lumMod val="75000"/>
                  <a:alpha val="0"/>
                </a:schemeClr>
              </a:gs>
              <a:gs pos="82000">
                <a:srgbClr val="000000">
                  <a:alpha val="24000"/>
                </a:srgbClr>
              </a:gs>
            </a:gsLst>
            <a:lin ang="9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6ECCD-D7E4-91F6-1669-78752983AD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6716" y="857251"/>
            <a:ext cx="7523502" cy="3160113"/>
          </a:xfrm>
        </p:spPr>
        <p:txBody>
          <a:bodyPr vert="horz" anchor="b">
            <a:noAutofit/>
          </a:bodyPr>
          <a:lstStyle/>
          <a:p>
            <a:pPr algn="l"/>
            <a:br>
              <a:rPr lang="en-US" sz="3200" b="1" dirty="0">
                <a:solidFill>
                  <a:srgbClr val="FFFFFF"/>
                </a:solidFill>
                <a:latin typeface="Century Gothic" panose="020B0502020202020204" pitchFamily="34" charset="0"/>
              </a:rPr>
            </a:br>
            <a:r>
              <a:rPr lang="ru-RU" sz="2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обновленная информация по предстоящему</a:t>
            </a:r>
            <a:br>
              <a:rPr lang="en-US" sz="4000" b="1" dirty="0">
                <a:solidFill>
                  <a:srgbClr val="FFFFFF"/>
                </a:solidFill>
                <a:latin typeface="Century Gothic" panose="020B0502020202020204" pitchFamily="34" charset="0"/>
              </a:rPr>
            </a:br>
            <a:r>
              <a:rPr lang="ru-RU" sz="4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Энергетическому инвестиционному форуму</a:t>
            </a:r>
            <a:br>
              <a:rPr lang="en-US" sz="2800" b="1" dirty="0">
                <a:solidFill>
                  <a:srgbClr val="FFFFFF"/>
                </a:solidFill>
                <a:latin typeface="Century Gothic" panose="020B0502020202020204" pitchFamily="34" charset="0"/>
              </a:rPr>
            </a:br>
            <a:r>
              <a:rPr lang="ru-RU" sz="2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Тбилиси, 28-29 ноября 2023 г.</a:t>
            </a:r>
            <a:endParaRPr lang="en-US" sz="40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5A1AA86-B7E6-4C02-AA34-F1A25CD4CC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7518" y="4354178"/>
            <a:ext cx="8118330" cy="250381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33000"/>
                </a:schemeClr>
              </a:gs>
              <a:gs pos="83000">
                <a:srgbClr val="000000">
                  <a:alpha val="21000"/>
                </a:srgb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5B5D1-37C4-3302-5037-C57AF5D162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9313" y="4800600"/>
            <a:ext cx="6699066" cy="1200149"/>
          </a:xfrm>
        </p:spPr>
        <p:txBody>
          <a:bodyPr anchor="t">
            <a:normAutofit fontScale="92500" lnSpcReduction="10000"/>
          </a:bodyPr>
          <a:lstStyle/>
          <a:p>
            <a:pPr algn="l"/>
            <a:r>
              <a:rPr lang="ru-RU" sz="2000" dirty="0">
                <a:solidFill>
                  <a:srgbClr val="FFFFFF"/>
                </a:solidFill>
                <a:latin typeface="Century Gothic" panose="020B0502020202020204" pitchFamily="34" charset="0"/>
              </a:rPr>
              <a:t>Алтынай </a:t>
            </a:r>
            <a:r>
              <a:rPr lang="ru-RU" sz="2000" dirty="0" err="1">
                <a:solidFill>
                  <a:srgbClr val="FFFFFF"/>
                </a:solidFill>
                <a:latin typeface="Century Gothic" panose="020B0502020202020204" pitchFamily="34" charset="0"/>
              </a:rPr>
              <a:t>Арапова</a:t>
            </a:r>
            <a:r>
              <a:rPr lang="ru-RU" sz="2000" dirty="0">
                <a:solidFill>
                  <a:srgbClr val="FFFFFF"/>
                </a:solidFill>
                <a:latin typeface="Century Gothic" panose="020B0502020202020204" pitchFamily="34" charset="0"/>
              </a:rPr>
              <a:t>, экономист, Отдел регионального сотрудничества и координации операций, Департамент Центральной и Западной Азии, АБР</a:t>
            </a:r>
          </a:p>
          <a:p>
            <a:pPr algn="l"/>
            <a:r>
              <a:rPr lang="en-US" sz="2000" dirty="0" err="1">
                <a:solidFill>
                  <a:srgbClr val="FFFFFF"/>
                </a:solidFill>
                <a:latin typeface="Century Gothic" panose="020B0502020202020204" pitchFamily="34" charset="0"/>
              </a:rPr>
              <a:t>aarapova@adb.org</a:t>
            </a:r>
            <a:endParaRPr lang="en-US" sz="20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18AACE-39DF-F1BE-4C06-C992B97F39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84892" y="315310"/>
            <a:ext cx="2271384" cy="883919"/>
          </a:xfrm>
          <a:prstGeom prst="rect">
            <a:avLst/>
          </a:prstGeom>
        </p:spPr>
      </p:pic>
      <p:pic>
        <p:nvPicPr>
          <p:cNvPr id="4" name="Picture 3" descr="A logo with red and yellow colors&#10;&#10;Description automatically generated">
            <a:extLst>
              <a:ext uri="{FF2B5EF4-FFF2-40B4-BE49-F238E27FC236}">
                <a16:creationId xmlns:a16="http://schemas.microsoft.com/office/drawing/2014/main" id="{20B6C6AF-B77D-346A-6D06-F07FD878C0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19531" y="4836117"/>
            <a:ext cx="2105246" cy="1956365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52E076-B04B-0AAB-27A3-A5B093A7E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4711B-2BBD-4434-9CFE-8F1E27B56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96DAE4-8AA4-6846-8BB5-775EED0C3934}"/>
              </a:ext>
            </a:extLst>
          </p:cNvPr>
          <p:cNvSpPr txBox="1"/>
          <p:nvPr/>
        </p:nvSpPr>
        <p:spPr>
          <a:xfrm>
            <a:off x="8574568" y="1329873"/>
            <a:ext cx="3603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Энергетическая стратегия ЦАРЭС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11483F9-FD8F-284D-B44C-495DC2F653C2}"/>
              </a:ext>
            </a:extLst>
          </p:cNvPr>
          <p:cNvSpPr txBox="1"/>
          <p:nvPr/>
        </p:nvSpPr>
        <p:spPr>
          <a:xfrm>
            <a:off x="8706175" y="3552629"/>
            <a:ext cx="33319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ограмма Центрально-Азиатского регионального экономического сотрудничества (ЦАРЭС) </a:t>
            </a:r>
          </a:p>
        </p:txBody>
      </p:sp>
    </p:spTree>
    <p:extLst>
      <p:ext uri="{BB962C8B-B14F-4D97-AF65-F5344CB8AC3E}">
        <p14:creationId xmlns:p14="http://schemas.microsoft.com/office/powerpoint/2010/main" val="17145570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7A34EEB-7B1F-4B60-651D-8D5E2CCDF9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A34EEB-7B1F-4B60-651D-8D5E2CCDF9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0F4579-B377-DE92-EEAC-AFDD44A82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104" y="136525"/>
            <a:ext cx="10515600" cy="1325563"/>
          </a:xfrm>
        </p:spPr>
        <p:txBody>
          <a:bodyPr vert="horz"/>
          <a:lstStyle/>
          <a:p>
            <a:r>
              <a:rPr lang="ru-RU" sz="4000" b="1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rPr>
              <a:t>Справочная информация</a:t>
            </a:r>
            <a:endParaRPr lang="en-US" sz="4000" b="1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A47768-AF13-069E-AC72-A62E3E04CA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297" y="1389227"/>
            <a:ext cx="5149369" cy="29339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6B431C8-E847-3118-3E7B-882015E1C7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8951" y="4323169"/>
            <a:ext cx="3234669" cy="184300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7EC9771-7545-A718-5F49-880C60C011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14270" y="4323169"/>
            <a:ext cx="3234669" cy="1843009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7E65403-B6FF-4104-D83E-948D156A4E3C}"/>
              </a:ext>
            </a:extLst>
          </p:cNvPr>
          <p:cNvSpPr txBox="1">
            <a:spLocks/>
          </p:cNvSpPr>
          <p:nvPr/>
        </p:nvSpPr>
        <p:spPr>
          <a:xfrm>
            <a:off x="5804451" y="1385204"/>
            <a:ext cx="5932445" cy="4477115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первые Энергетический инвестиционный форум (ЭИФ) ЦАРЭС прошел в Исламабаде в 2016 году. 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следующие ЭИФ были проведены в Астане в 2017 году, Батуми (Грузия) в 2018 году и Ташкенте в 2019 году. 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связи с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VID-19,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2020 и 2022 годах ЭИФ не проводился. 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2021 году ЭИФ был проведен в виртуальном формате.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AB18A0B-D2D1-91D3-DF4A-9506D5109059}"/>
              </a:ext>
            </a:extLst>
          </p:cNvPr>
          <p:cNvSpPr txBox="1"/>
          <p:nvPr/>
        </p:nvSpPr>
        <p:spPr>
          <a:xfrm>
            <a:off x="7169589" y="4487374"/>
            <a:ext cx="401475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2023 году ЭИФ пройдет в Тбилиси, 28 и 29 ноября.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11131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D885838-C520-FEE7-FA16-EE8360BA79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885838-C520-FEE7-FA16-EE8360BA79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777A147A-9ED8-46B4-8660-1B3C2AA880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sketch line">
            <a:extLst>
              <a:ext uri="{FF2B5EF4-FFF2-40B4-BE49-F238E27FC236}">
                <a16:creationId xmlns:a16="http://schemas.microsoft.com/office/drawing/2014/main" id="{5D6C15A0-C087-4593-8414-2B4EC1CDC3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2543983" y="3258715"/>
            <a:ext cx="4480560" cy="18288"/>
          </a:xfrm>
          <a:custGeom>
            <a:avLst/>
            <a:gdLst>
              <a:gd name="connsiteX0" fmla="*/ 0 w 4480560"/>
              <a:gd name="connsiteY0" fmla="*/ 0 h 18288"/>
              <a:gd name="connsiteX1" fmla="*/ 595274 w 4480560"/>
              <a:gd name="connsiteY1" fmla="*/ 0 h 18288"/>
              <a:gd name="connsiteX2" fmla="*/ 1100938 w 4480560"/>
              <a:gd name="connsiteY2" fmla="*/ 0 h 18288"/>
              <a:gd name="connsiteX3" fmla="*/ 1651406 w 4480560"/>
              <a:gd name="connsiteY3" fmla="*/ 0 h 18288"/>
              <a:gd name="connsiteX4" fmla="*/ 2336292 w 4480560"/>
              <a:gd name="connsiteY4" fmla="*/ 0 h 18288"/>
              <a:gd name="connsiteX5" fmla="*/ 2931566 w 4480560"/>
              <a:gd name="connsiteY5" fmla="*/ 0 h 18288"/>
              <a:gd name="connsiteX6" fmla="*/ 3482035 w 4480560"/>
              <a:gd name="connsiteY6" fmla="*/ 0 h 18288"/>
              <a:gd name="connsiteX7" fmla="*/ 4480560 w 4480560"/>
              <a:gd name="connsiteY7" fmla="*/ 0 h 18288"/>
              <a:gd name="connsiteX8" fmla="*/ 4480560 w 4480560"/>
              <a:gd name="connsiteY8" fmla="*/ 18288 h 18288"/>
              <a:gd name="connsiteX9" fmla="*/ 3840480 w 4480560"/>
              <a:gd name="connsiteY9" fmla="*/ 18288 h 18288"/>
              <a:gd name="connsiteX10" fmla="*/ 3290011 w 4480560"/>
              <a:gd name="connsiteY10" fmla="*/ 18288 h 18288"/>
              <a:gd name="connsiteX11" fmla="*/ 2560320 w 4480560"/>
              <a:gd name="connsiteY11" fmla="*/ 18288 h 18288"/>
              <a:gd name="connsiteX12" fmla="*/ 1965046 w 4480560"/>
              <a:gd name="connsiteY12" fmla="*/ 18288 h 18288"/>
              <a:gd name="connsiteX13" fmla="*/ 1459382 w 4480560"/>
              <a:gd name="connsiteY13" fmla="*/ 18288 h 18288"/>
              <a:gd name="connsiteX14" fmla="*/ 774497 w 4480560"/>
              <a:gd name="connsiteY14" fmla="*/ 18288 h 18288"/>
              <a:gd name="connsiteX15" fmla="*/ 0 w 4480560"/>
              <a:gd name="connsiteY15" fmla="*/ 18288 h 18288"/>
              <a:gd name="connsiteX16" fmla="*/ 0 w 4480560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480560" h="18288" fill="none" extrusionOk="0">
                <a:moveTo>
                  <a:pt x="0" y="0"/>
                </a:moveTo>
                <a:cubicBezTo>
                  <a:pt x="267821" y="8731"/>
                  <a:pt x="334105" y="2629"/>
                  <a:pt x="595274" y="0"/>
                </a:cubicBezTo>
                <a:cubicBezTo>
                  <a:pt x="856443" y="-2629"/>
                  <a:pt x="863808" y="-13353"/>
                  <a:pt x="1100938" y="0"/>
                </a:cubicBezTo>
                <a:cubicBezTo>
                  <a:pt x="1338068" y="13353"/>
                  <a:pt x="1431663" y="-25862"/>
                  <a:pt x="1651406" y="0"/>
                </a:cubicBezTo>
                <a:cubicBezTo>
                  <a:pt x="1871149" y="25862"/>
                  <a:pt x="2173163" y="23827"/>
                  <a:pt x="2336292" y="0"/>
                </a:cubicBezTo>
                <a:cubicBezTo>
                  <a:pt x="2499421" y="-23827"/>
                  <a:pt x="2720589" y="28148"/>
                  <a:pt x="2931566" y="0"/>
                </a:cubicBezTo>
                <a:cubicBezTo>
                  <a:pt x="3142543" y="-28148"/>
                  <a:pt x="3323630" y="27022"/>
                  <a:pt x="3482035" y="0"/>
                </a:cubicBezTo>
                <a:cubicBezTo>
                  <a:pt x="3640440" y="-27022"/>
                  <a:pt x="4012110" y="-20118"/>
                  <a:pt x="4480560" y="0"/>
                </a:cubicBezTo>
                <a:cubicBezTo>
                  <a:pt x="4480958" y="7429"/>
                  <a:pt x="4480540" y="10822"/>
                  <a:pt x="4480560" y="18288"/>
                </a:cubicBezTo>
                <a:cubicBezTo>
                  <a:pt x="4314132" y="14924"/>
                  <a:pt x="4028383" y="36632"/>
                  <a:pt x="3840480" y="18288"/>
                </a:cubicBezTo>
                <a:cubicBezTo>
                  <a:pt x="3652577" y="-56"/>
                  <a:pt x="3547615" y="2848"/>
                  <a:pt x="3290011" y="18288"/>
                </a:cubicBezTo>
                <a:cubicBezTo>
                  <a:pt x="3032407" y="33728"/>
                  <a:pt x="2830268" y="8719"/>
                  <a:pt x="2560320" y="18288"/>
                </a:cubicBezTo>
                <a:cubicBezTo>
                  <a:pt x="2290372" y="27857"/>
                  <a:pt x="2147422" y="6728"/>
                  <a:pt x="1965046" y="18288"/>
                </a:cubicBezTo>
                <a:cubicBezTo>
                  <a:pt x="1782670" y="29848"/>
                  <a:pt x="1689791" y="40680"/>
                  <a:pt x="1459382" y="18288"/>
                </a:cubicBezTo>
                <a:cubicBezTo>
                  <a:pt x="1228973" y="-4104"/>
                  <a:pt x="915486" y="36501"/>
                  <a:pt x="774497" y="18288"/>
                </a:cubicBezTo>
                <a:cubicBezTo>
                  <a:pt x="633508" y="75"/>
                  <a:pt x="361442" y="-11107"/>
                  <a:pt x="0" y="18288"/>
                </a:cubicBezTo>
                <a:cubicBezTo>
                  <a:pt x="-591" y="13205"/>
                  <a:pt x="-663" y="6329"/>
                  <a:pt x="0" y="0"/>
                </a:cubicBezTo>
                <a:close/>
              </a:path>
              <a:path w="4480560" h="18288" stroke="0" extrusionOk="0">
                <a:moveTo>
                  <a:pt x="0" y="0"/>
                </a:moveTo>
                <a:cubicBezTo>
                  <a:pt x="285465" y="225"/>
                  <a:pt x="322691" y="16223"/>
                  <a:pt x="595274" y="0"/>
                </a:cubicBezTo>
                <a:cubicBezTo>
                  <a:pt x="867857" y="-16223"/>
                  <a:pt x="989129" y="-11242"/>
                  <a:pt x="1100938" y="0"/>
                </a:cubicBezTo>
                <a:cubicBezTo>
                  <a:pt x="1212747" y="11242"/>
                  <a:pt x="1574350" y="-36410"/>
                  <a:pt x="1830629" y="0"/>
                </a:cubicBezTo>
                <a:cubicBezTo>
                  <a:pt x="2086908" y="36410"/>
                  <a:pt x="2180922" y="4645"/>
                  <a:pt x="2425903" y="0"/>
                </a:cubicBezTo>
                <a:cubicBezTo>
                  <a:pt x="2670884" y="-4645"/>
                  <a:pt x="2782024" y="22929"/>
                  <a:pt x="3021178" y="0"/>
                </a:cubicBezTo>
                <a:cubicBezTo>
                  <a:pt x="3260332" y="-22929"/>
                  <a:pt x="3456982" y="-1586"/>
                  <a:pt x="3750869" y="0"/>
                </a:cubicBezTo>
                <a:cubicBezTo>
                  <a:pt x="4044756" y="1586"/>
                  <a:pt x="4302726" y="17043"/>
                  <a:pt x="4480560" y="0"/>
                </a:cubicBezTo>
                <a:cubicBezTo>
                  <a:pt x="4479674" y="5429"/>
                  <a:pt x="4481381" y="14046"/>
                  <a:pt x="4480560" y="18288"/>
                </a:cubicBezTo>
                <a:cubicBezTo>
                  <a:pt x="4279652" y="-6850"/>
                  <a:pt x="4200762" y="41566"/>
                  <a:pt x="3930091" y="18288"/>
                </a:cubicBezTo>
                <a:cubicBezTo>
                  <a:pt x="3659420" y="-4990"/>
                  <a:pt x="3456052" y="22294"/>
                  <a:pt x="3290011" y="18288"/>
                </a:cubicBezTo>
                <a:cubicBezTo>
                  <a:pt x="3123970" y="14282"/>
                  <a:pt x="2882392" y="32818"/>
                  <a:pt x="2649931" y="18288"/>
                </a:cubicBezTo>
                <a:cubicBezTo>
                  <a:pt x="2417470" y="3758"/>
                  <a:pt x="2238426" y="7337"/>
                  <a:pt x="2054657" y="18288"/>
                </a:cubicBezTo>
                <a:cubicBezTo>
                  <a:pt x="1870888" y="29239"/>
                  <a:pt x="1566368" y="45040"/>
                  <a:pt x="1324966" y="18288"/>
                </a:cubicBezTo>
                <a:cubicBezTo>
                  <a:pt x="1083564" y="-8464"/>
                  <a:pt x="787410" y="10946"/>
                  <a:pt x="595274" y="18288"/>
                </a:cubicBezTo>
                <a:cubicBezTo>
                  <a:pt x="403138" y="25630"/>
                  <a:pt x="169622" y="10499"/>
                  <a:pt x="0" y="18288"/>
                </a:cubicBezTo>
                <a:cubicBezTo>
                  <a:pt x="668" y="13665"/>
                  <a:pt x="578" y="5675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32EA9FC-9C8C-304D-BD2B-9F2981F1DB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10327" y="143660"/>
            <a:ext cx="2271384" cy="88391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C683E-E650-BF3F-3AE0-6E4BAA06FD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4711B-2BBD-4434-9CFE-8F1E27B56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0C2EC01-E477-2037-2906-8D2B94575EF5}"/>
              </a:ext>
            </a:extLst>
          </p:cNvPr>
          <p:cNvSpPr/>
          <p:nvPr/>
        </p:nvSpPr>
        <p:spPr>
          <a:xfrm>
            <a:off x="4354263" y="883918"/>
            <a:ext cx="495177" cy="5213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B908C59-18D8-DD00-C2E1-391034504558}"/>
              </a:ext>
            </a:extLst>
          </p:cNvPr>
          <p:cNvSpPr/>
          <p:nvPr/>
        </p:nvSpPr>
        <p:spPr>
          <a:xfrm>
            <a:off x="299083" y="1689333"/>
            <a:ext cx="5678964" cy="1512550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0DA770B-5EBA-6C55-D7C0-0D74460A7ADD}"/>
              </a:ext>
            </a:extLst>
          </p:cNvPr>
          <p:cNvSpPr/>
          <p:nvPr/>
        </p:nvSpPr>
        <p:spPr>
          <a:xfrm>
            <a:off x="306759" y="3297563"/>
            <a:ext cx="5678964" cy="151255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EA0D0BD-C28B-B2FF-A27C-80D668EABB76}"/>
              </a:ext>
            </a:extLst>
          </p:cNvPr>
          <p:cNvSpPr/>
          <p:nvPr/>
        </p:nvSpPr>
        <p:spPr>
          <a:xfrm>
            <a:off x="306759" y="4896308"/>
            <a:ext cx="5678964" cy="151255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AB770AE1-315D-4AD6-DBA6-28F7D0E0CC4E}"/>
              </a:ext>
            </a:extLst>
          </p:cNvPr>
          <p:cNvSpPr txBox="1">
            <a:spLocks/>
          </p:cNvSpPr>
          <p:nvPr/>
        </p:nvSpPr>
        <p:spPr>
          <a:xfrm>
            <a:off x="1604319" y="1847933"/>
            <a:ext cx="4289591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BC322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ЭИФ является платформ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для взаимодействия правительств стран региона ЦАРЭС, разработчиков проектов, партнеров по развитию, финансовых организаций и других заинтересованных сторон.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CDDDC067-2A0F-38A4-9D29-9E878204CE0F}"/>
              </a:ext>
            </a:extLst>
          </p:cNvPr>
          <p:cNvSpPr txBox="1">
            <a:spLocks/>
          </p:cNvSpPr>
          <p:nvPr/>
        </p:nvSpPr>
        <p:spPr>
          <a:xfrm>
            <a:off x="1604319" y="3469457"/>
            <a:ext cx="4135785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Основная цель форума –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тимулировать диалог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, который приведет к инициированию новых проектов в области устойчивой энергетики, и способствовать привлечению финансирования для этих проектов.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86E34D12-425B-19D1-2CA9-4B97BAE717AF}"/>
              </a:ext>
            </a:extLst>
          </p:cNvPr>
          <p:cNvSpPr txBox="1">
            <a:spLocks/>
          </p:cNvSpPr>
          <p:nvPr/>
        </p:nvSpPr>
        <p:spPr>
          <a:xfrm>
            <a:off x="7346424" y="1764723"/>
            <a:ext cx="4363053" cy="1704734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Основная задача –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ускорить финансирование этих проектов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и обеспечить их своевременную реализацию, опираясь на опыт банков развития, частных компаний и основных региональных заинтересованных сторон.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EBA57632-8337-D681-3E92-D3071477A0AA}"/>
              </a:ext>
            </a:extLst>
          </p:cNvPr>
          <p:cNvSpPr txBox="1">
            <a:spLocks/>
          </p:cNvSpPr>
          <p:nvPr/>
        </p:nvSpPr>
        <p:spPr>
          <a:xfrm>
            <a:off x="1604319" y="5034140"/>
            <a:ext cx="4135785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0 стран-членов ЦАРЭС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редставят перспективные инвестиционные возможности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: от солнечной, ветровой и гидроэнергетики до энергоэффективности и устойчивого теплоснабжения.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FF06562-E9DB-46E3-9B03-E7FD10A6516C}"/>
              </a:ext>
            </a:extLst>
          </p:cNvPr>
          <p:cNvSpPr/>
          <p:nvPr/>
        </p:nvSpPr>
        <p:spPr>
          <a:xfrm>
            <a:off x="6110021" y="1676597"/>
            <a:ext cx="5678964" cy="1525286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56AD995-9495-C644-A6B9-B1DC688477C9}"/>
              </a:ext>
            </a:extLst>
          </p:cNvPr>
          <p:cNvSpPr/>
          <p:nvPr/>
        </p:nvSpPr>
        <p:spPr>
          <a:xfrm>
            <a:off x="6130447" y="3297563"/>
            <a:ext cx="5678964" cy="151255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11D4689-F401-6878-22E3-4B6668832794}"/>
              </a:ext>
            </a:extLst>
          </p:cNvPr>
          <p:cNvSpPr/>
          <p:nvPr/>
        </p:nvSpPr>
        <p:spPr>
          <a:xfrm>
            <a:off x="6130447" y="4896308"/>
            <a:ext cx="5678964" cy="151255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31BCD6-4A16-2715-389E-1DCBB8E93B26}"/>
              </a:ext>
            </a:extLst>
          </p:cNvPr>
          <p:cNvSpPr txBox="1">
            <a:spLocks/>
          </p:cNvSpPr>
          <p:nvPr/>
        </p:nvSpPr>
        <p:spPr>
          <a:xfrm>
            <a:off x="7379686" y="3681164"/>
            <a:ext cx="4296528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В этом году мы ставим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во главу угла новые энергетические проекты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.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BC322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89C35CE4-3829-8211-EE7E-B76E5EFD14F0}"/>
              </a:ext>
            </a:extLst>
          </p:cNvPr>
          <p:cNvSpPr txBox="1">
            <a:spLocks/>
          </p:cNvSpPr>
          <p:nvPr/>
        </p:nvSpPr>
        <p:spPr>
          <a:xfrm>
            <a:off x="7441425" y="5047652"/>
            <a:ext cx="4296528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В программу также включен ряд интересных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«интермеццо-презентаций», затрагивающих животрепещущие темы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, касающиеся энергетического перехода в регионе.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27" name="Picture 26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62BDC96-9D38-C49E-E496-856C542C8A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15" y="3596638"/>
            <a:ext cx="914400" cy="914400"/>
          </a:xfrm>
          <a:prstGeom prst="rect">
            <a:avLst/>
          </a:prstGeom>
        </p:spPr>
      </p:pic>
      <p:pic>
        <p:nvPicPr>
          <p:cNvPr id="28" name="Picture 2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E7FF486-4A12-4AE5-7F44-000F6241717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478" y="3596638"/>
            <a:ext cx="914400" cy="914400"/>
          </a:xfrm>
          <a:prstGeom prst="rect">
            <a:avLst/>
          </a:prstGeom>
        </p:spPr>
      </p:pic>
      <p:pic>
        <p:nvPicPr>
          <p:cNvPr id="29" name="Picture 2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8610DC4C-C106-39AF-8EEA-1D44092FA2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478" y="5118324"/>
            <a:ext cx="914400" cy="914400"/>
          </a:xfrm>
          <a:prstGeom prst="rect">
            <a:avLst/>
          </a:prstGeom>
        </p:spPr>
      </p:pic>
      <p:pic>
        <p:nvPicPr>
          <p:cNvPr id="30" name="Picture 2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05FD483E-33E2-9921-3A07-CCAA4D6C039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478" y="1951408"/>
            <a:ext cx="914400" cy="914400"/>
          </a:xfrm>
          <a:prstGeom prst="rect">
            <a:avLst/>
          </a:prstGeom>
        </p:spPr>
      </p:pic>
      <p:pic>
        <p:nvPicPr>
          <p:cNvPr id="31" name="Picture 30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7A121BF-E70B-D5F1-63A1-176C5DEEF71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15" y="5118324"/>
            <a:ext cx="914400" cy="914400"/>
          </a:xfrm>
          <a:prstGeom prst="rect">
            <a:avLst/>
          </a:prstGeom>
        </p:spPr>
      </p:pic>
      <p:pic>
        <p:nvPicPr>
          <p:cNvPr id="32" name="Picture 3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62D8A9E2-871C-F43E-87BF-0DCB90B4413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15" y="1951408"/>
            <a:ext cx="914400" cy="914400"/>
          </a:xfrm>
          <a:prstGeom prst="rect">
            <a:avLst/>
          </a:prstGeom>
        </p:spPr>
      </p:pic>
      <p:sp>
        <p:nvSpPr>
          <p:cNvPr id="33" name="Title 7">
            <a:extLst>
              <a:ext uri="{FF2B5EF4-FFF2-40B4-BE49-F238E27FC236}">
                <a16:creationId xmlns:a16="http://schemas.microsoft.com/office/drawing/2014/main" id="{2692C62E-9B39-63B8-1132-428D3F3F10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340" y="309099"/>
            <a:ext cx="10506456" cy="1119116"/>
          </a:xfrm>
        </p:spPr>
        <p:txBody>
          <a:bodyPr vert="horz" anchor="ctr">
            <a:normAutofit/>
          </a:bodyPr>
          <a:lstStyle/>
          <a:p>
            <a:r>
              <a:rPr lang="ru-RU" sz="4000" b="1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rPr>
              <a:t>Цель</a:t>
            </a:r>
            <a:endParaRPr lang="en-US" sz="4000" b="1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33254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E9E38B2-F366-0632-198E-3F040A36B7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9E38B2-F366-0632-198E-3F040A36B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71AAFB-1570-A76A-76E6-A95FEF87A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4711B-2BBD-4434-9CFE-8F1E27B56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ïsḷíḓè">
            <a:extLst>
              <a:ext uri="{FF2B5EF4-FFF2-40B4-BE49-F238E27FC236}">
                <a16:creationId xmlns:a16="http://schemas.microsoft.com/office/drawing/2014/main" id="{3BC0A284-3DF3-97DA-1444-7E85F0C7EB4B}"/>
              </a:ext>
            </a:extLst>
          </p:cNvPr>
          <p:cNvSpPr/>
          <p:nvPr/>
        </p:nvSpPr>
        <p:spPr>
          <a:xfrm>
            <a:off x="3313087" y="1482893"/>
            <a:ext cx="3932715" cy="44038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b" anchorCtr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одератором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форума выступит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иша </a:t>
            </a:r>
            <a:r>
              <a:rPr kumimoji="0" 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иллай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бывшая ведущая BBC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ld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вое участие подтвердили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большинство ключевых внешних и внутренних докладчиков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Запланированы два круглых стола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i)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 частным сектором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и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ii)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 партнерами по развитию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се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елегации Правительств стран ЦАРЭС представят 10-15-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инутные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езентации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нтермеццо-презентаций, чтобы придать форуму дополнительный колорит и сделать его более интересным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Форум с встречами для подбора партнеров пройдет во второй день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29746A-05E3-AF0D-5EE5-A06D8F45208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000" t="6251" r="65519" b="30131"/>
          <a:stretch/>
        </p:blipFill>
        <p:spPr>
          <a:xfrm>
            <a:off x="171969" y="1330240"/>
            <a:ext cx="2985228" cy="2221343"/>
          </a:xfrm>
          <a:prstGeom prst="rect">
            <a:avLst/>
          </a:prstGeom>
        </p:spPr>
      </p:pic>
      <p:cxnSp>
        <p:nvCxnSpPr>
          <p:cNvPr id="9" name="í$lïḍé">
            <a:extLst>
              <a:ext uri="{FF2B5EF4-FFF2-40B4-BE49-F238E27FC236}">
                <a16:creationId xmlns:a16="http://schemas.microsoft.com/office/drawing/2014/main" id="{517501E7-4FB6-227A-5FC3-9ACFEFEA4B28}"/>
              </a:ext>
            </a:extLst>
          </p:cNvPr>
          <p:cNvCxnSpPr>
            <a:cxnSpLocks/>
          </p:cNvCxnSpPr>
          <p:nvPr/>
        </p:nvCxnSpPr>
        <p:spPr>
          <a:xfrm>
            <a:off x="4062658" y="6273153"/>
            <a:ext cx="7804664" cy="23563"/>
          </a:xfrm>
          <a:prstGeom prst="line">
            <a:avLst/>
          </a:prstGeom>
          <a:ln w="254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îs1ïďè">
            <a:extLst>
              <a:ext uri="{FF2B5EF4-FFF2-40B4-BE49-F238E27FC236}">
                <a16:creationId xmlns:a16="http://schemas.microsoft.com/office/drawing/2014/main" id="{3C24190D-6B9C-9709-1CFB-E4ABFCFDB483}"/>
              </a:ext>
            </a:extLst>
          </p:cNvPr>
          <p:cNvGrpSpPr/>
          <p:nvPr/>
        </p:nvGrpSpPr>
        <p:grpSpPr>
          <a:xfrm>
            <a:off x="5471968" y="6057129"/>
            <a:ext cx="432048" cy="432048"/>
            <a:chOff x="4264950" y="5651169"/>
            <a:chExt cx="432048" cy="432048"/>
          </a:xfrm>
        </p:grpSpPr>
        <p:sp>
          <p:nvSpPr>
            <p:cNvPr id="11" name="ïṩlîďe">
              <a:extLst>
                <a:ext uri="{FF2B5EF4-FFF2-40B4-BE49-F238E27FC236}">
                  <a16:creationId xmlns:a16="http://schemas.microsoft.com/office/drawing/2014/main" id="{3FBAB795-E467-B03A-D636-1B263319CCA2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" name="iślïdé">
              <a:extLst>
                <a:ext uri="{FF2B5EF4-FFF2-40B4-BE49-F238E27FC236}">
                  <a16:creationId xmlns:a16="http://schemas.microsoft.com/office/drawing/2014/main" id="{622F799C-1E3B-9D39-1EBE-9931724C93D1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13" name="í$ľîḑè">
            <a:extLst>
              <a:ext uri="{FF2B5EF4-FFF2-40B4-BE49-F238E27FC236}">
                <a16:creationId xmlns:a16="http://schemas.microsoft.com/office/drawing/2014/main" id="{14AF69FA-0A75-BA39-FFA5-D500534B723F}"/>
              </a:ext>
            </a:extLst>
          </p:cNvPr>
          <p:cNvGrpSpPr/>
          <p:nvPr/>
        </p:nvGrpSpPr>
        <p:grpSpPr>
          <a:xfrm>
            <a:off x="11181480" y="6057129"/>
            <a:ext cx="432048" cy="432048"/>
            <a:chOff x="4264950" y="5651169"/>
            <a:chExt cx="432048" cy="432048"/>
          </a:xfrm>
        </p:grpSpPr>
        <p:sp>
          <p:nvSpPr>
            <p:cNvPr id="14" name="í$ľíḑè">
              <a:extLst>
                <a:ext uri="{FF2B5EF4-FFF2-40B4-BE49-F238E27FC236}">
                  <a16:creationId xmlns:a16="http://schemas.microsoft.com/office/drawing/2014/main" id="{4C0625B8-BD84-36F4-891F-45F6FC0B275F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" name="ísḻiḍê">
              <a:extLst>
                <a:ext uri="{FF2B5EF4-FFF2-40B4-BE49-F238E27FC236}">
                  <a16:creationId xmlns:a16="http://schemas.microsoft.com/office/drawing/2014/main" id="{064A02FB-66C1-EE14-C5BD-5605F8ADB252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17" name="Title 7">
            <a:extLst>
              <a:ext uri="{FF2B5EF4-FFF2-40B4-BE49-F238E27FC236}">
                <a16:creationId xmlns:a16="http://schemas.microsoft.com/office/drawing/2014/main" id="{6F0ABB95-227F-708A-C8F0-0E1C6229E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740" y="173235"/>
            <a:ext cx="10506456" cy="1157005"/>
          </a:xfrm>
        </p:spPr>
        <p:txBody>
          <a:bodyPr vert="horz" anchor="ctr">
            <a:normAutofit/>
          </a:bodyPr>
          <a:lstStyle/>
          <a:p>
            <a:r>
              <a:rPr lang="ru-RU" sz="3200" b="1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rPr>
              <a:t>Статус 6го Энергетического инвестиционного форума ЦАРЭС</a:t>
            </a:r>
            <a:endParaRPr lang="en-US" sz="3200" b="1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3" name="ïsḷíḓè">
            <a:extLst>
              <a:ext uri="{FF2B5EF4-FFF2-40B4-BE49-F238E27FC236}">
                <a16:creationId xmlns:a16="http://schemas.microsoft.com/office/drawing/2014/main" id="{545247DD-0982-3C32-9273-6F0D492F44AA}"/>
              </a:ext>
            </a:extLst>
          </p:cNvPr>
          <p:cNvSpPr/>
          <p:nvPr/>
        </p:nvSpPr>
        <p:spPr>
          <a:xfrm>
            <a:off x="8295860" y="1563975"/>
            <a:ext cx="3714055" cy="39114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b" anchorCtr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ru-RU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rPr>
              <a:t>Наша цель - </a:t>
            </a:r>
            <a:r>
              <a:rPr kumimoji="1" lang="ru-RU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rPr>
              <a:t>наладить связь между разработчиками, банками развития и правительствами стран ЦАРЭС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ru-RU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rPr>
              <a:t>Для каждой страны будет организован отдельный стенд</a:t>
            </a:r>
            <a:r>
              <a:rPr kumimoji="1" lang="ru-RU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rPr>
              <a:t>. На каждом стенде будут присутствовать представители правительства и, возможно, другие заинтересованные стороны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ru-RU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rPr>
              <a:t>Участники будут перемещаться группами (10 групп), переходя от одного стенда к другому каждые 15 минут. Звонок будет служить сигналом к тому, что пора переходить к следующему стенду.</a:t>
            </a:r>
            <a:endParaRPr kumimoji="1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FBA2E48-315E-5854-52C0-E53B7CFEAC7E}"/>
              </a:ext>
            </a:extLst>
          </p:cNvPr>
          <p:cNvSpPr txBox="1"/>
          <p:nvPr/>
        </p:nvSpPr>
        <p:spPr>
          <a:xfrm>
            <a:off x="3312910" y="1194643"/>
            <a:ext cx="30811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татус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: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4CC1FD8-6FB8-B513-1548-464B4C3E5F85}"/>
              </a:ext>
            </a:extLst>
          </p:cNvPr>
          <p:cNvSpPr txBox="1"/>
          <p:nvPr/>
        </p:nvSpPr>
        <p:spPr>
          <a:xfrm>
            <a:off x="7820487" y="1205208"/>
            <a:ext cx="36563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одбор партнеров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:</a:t>
            </a:r>
          </a:p>
        </p:txBody>
      </p:sp>
      <p:pic>
        <p:nvPicPr>
          <p:cNvPr id="27" name="Picture 26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59A411EF-ADAC-A203-5FDC-5E82C178D59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3631" y="137930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6027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E9E38B2-F366-0632-198E-3F040A36B7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9E38B2-F366-0632-198E-3F040A36B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71AAFB-1570-A76A-76E6-A95FEF87A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4711B-2BBD-4434-9CFE-8F1E27B56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í$lïḍé">
            <a:extLst>
              <a:ext uri="{FF2B5EF4-FFF2-40B4-BE49-F238E27FC236}">
                <a16:creationId xmlns:a16="http://schemas.microsoft.com/office/drawing/2014/main" id="{517501E7-4FB6-227A-5FC3-9ACFEFEA4B28}"/>
              </a:ext>
            </a:extLst>
          </p:cNvPr>
          <p:cNvCxnSpPr>
            <a:cxnSpLocks/>
          </p:cNvCxnSpPr>
          <p:nvPr/>
        </p:nvCxnSpPr>
        <p:spPr>
          <a:xfrm>
            <a:off x="4062658" y="6273153"/>
            <a:ext cx="7804664" cy="23563"/>
          </a:xfrm>
          <a:prstGeom prst="line">
            <a:avLst/>
          </a:prstGeom>
          <a:ln w="254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îs1ïďè">
            <a:extLst>
              <a:ext uri="{FF2B5EF4-FFF2-40B4-BE49-F238E27FC236}">
                <a16:creationId xmlns:a16="http://schemas.microsoft.com/office/drawing/2014/main" id="{3C24190D-6B9C-9709-1CFB-E4ABFCFDB483}"/>
              </a:ext>
            </a:extLst>
          </p:cNvPr>
          <p:cNvGrpSpPr/>
          <p:nvPr/>
        </p:nvGrpSpPr>
        <p:grpSpPr>
          <a:xfrm>
            <a:off x="5471968" y="6057129"/>
            <a:ext cx="432048" cy="432048"/>
            <a:chOff x="4264950" y="5651169"/>
            <a:chExt cx="432048" cy="432048"/>
          </a:xfrm>
        </p:grpSpPr>
        <p:sp>
          <p:nvSpPr>
            <p:cNvPr id="11" name="ïṩlîďe">
              <a:extLst>
                <a:ext uri="{FF2B5EF4-FFF2-40B4-BE49-F238E27FC236}">
                  <a16:creationId xmlns:a16="http://schemas.microsoft.com/office/drawing/2014/main" id="{3FBAB795-E467-B03A-D636-1B263319CCA2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" name="iślïdé">
              <a:extLst>
                <a:ext uri="{FF2B5EF4-FFF2-40B4-BE49-F238E27FC236}">
                  <a16:creationId xmlns:a16="http://schemas.microsoft.com/office/drawing/2014/main" id="{622F799C-1E3B-9D39-1EBE-9931724C93D1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13" name="í$ľîḑè">
            <a:extLst>
              <a:ext uri="{FF2B5EF4-FFF2-40B4-BE49-F238E27FC236}">
                <a16:creationId xmlns:a16="http://schemas.microsoft.com/office/drawing/2014/main" id="{14AF69FA-0A75-BA39-FFA5-D500534B723F}"/>
              </a:ext>
            </a:extLst>
          </p:cNvPr>
          <p:cNvGrpSpPr/>
          <p:nvPr/>
        </p:nvGrpSpPr>
        <p:grpSpPr>
          <a:xfrm>
            <a:off x="11181480" y="6057129"/>
            <a:ext cx="432048" cy="432048"/>
            <a:chOff x="4264950" y="5651169"/>
            <a:chExt cx="432048" cy="432048"/>
          </a:xfrm>
        </p:grpSpPr>
        <p:sp>
          <p:nvSpPr>
            <p:cNvPr id="14" name="í$ľíḑè">
              <a:extLst>
                <a:ext uri="{FF2B5EF4-FFF2-40B4-BE49-F238E27FC236}">
                  <a16:creationId xmlns:a16="http://schemas.microsoft.com/office/drawing/2014/main" id="{4C0625B8-BD84-36F4-891F-45F6FC0B275F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" name="ísḻiḍê">
              <a:extLst>
                <a:ext uri="{FF2B5EF4-FFF2-40B4-BE49-F238E27FC236}">
                  <a16:creationId xmlns:a16="http://schemas.microsoft.com/office/drawing/2014/main" id="{064A02FB-66C1-EE14-C5BD-5605F8ADB252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17" name="Title 7">
            <a:extLst>
              <a:ext uri="{FF2B5EF4-FFF2-40B4-BE49-F238E27FC236}">
                <a16:creationId xmlns:a16="http://schemas.microsoft.com/office/drawing/2014/main" id="{6F0ABB95-227F-708A-C8F0-0E1C6229E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740" y="173236"/>
            <a:ext cx="10506456" cy="530150"/>
          </a:xfrm>
        </p:spPr>
        <p:txBody>
          <a:bodyPr vert="horz" anchor="ctr">
            <a:normAutofit fontScale="90000"/>
          </a:bodyPr>
          <a:lstStyle/>
          <a:p>
            <a:r>
              <a:rPr lang="ru-RU" sz="3200" b="1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rPr>
              <a:t>Ожидания правительств стран ЦАРЭС</a:t>
            </a:r>
            <a:endParaRPr lang="en-US" sz="3200" b="1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6C22850-FEBA-2936-9186-420BA9D05A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6995" y="703386"/>
            <a:ext cx="6553328" cy="5785791"/>
          </a:xfrm>
        </p:spPr>
        <p:txBody>
          <a:bodyPr anchor="ctr">
            <a:noAutofit/>
          </a:bodyPr>
          <a:lstStyle/>
          <a:p>
            <a:r>
              <a:rPr lang="ru-RU" sz="2000" dirty="0"/>
              <a:t>Каждой стране-члену ЦАРЭС будет предоставлено </a:t>
            </a:r>
            <a:r>
              <a:rPr lang="ru-RU" sz="2000" b="1" dirty="0"/>
              <a:t>15 минут для презентации инвестиционных возможностей </a:t>
            </a:r>
            <a:r>
              <a:rPr lang="ru-RU" sz="2000" dirty="0"/>
              <a:t>в стране.</a:t>
            </a:r>
          </a:p>
          <a:p>
            <a:r>
              <a:rPr lang="ru-RU" sz="2000" dirty="0"/>
              <a:t>Странам-членам ЦАРЭС было предложено подготовить </a:t>
            </a:r>
            <a:r>
              <a:rPr lang="ru-RU" sz="2000" b="1" dirty="0"/>
              <a:t>2 или более проектов, готовых к инвестированию</a:t>
            </a:r>
            <a:r>
              <a:rPr lang="ru-RU" sz="2000" dirty="0"/>
              <a:t>. Они будут представлены в презентации.</a:t>
            </a:r>
          </a:p>
          <a:p>
            <a:r>
              <a:rPr lang="ru-RU" sz="2000" b="1" dirty="0">
                <a:solidFill>
                  <a:srgbClr val="C00000"/>
                </a:solidFill>
              </a:rPr>
              <a:t>Крайний срок</a:t>
            </a:r>
            <a:r>
              <a:rPr lang="ru-RU" sz="2000" dirty="0"/>
              <a:t> для отправки презентации и информации о проекте – </a:t>
            </a:r>
            <a:r>
              <a:rPr lang="ru-RU" sz="2000" b="1" dirty="0">
                <a:solidFill>
                  <a:srgbClr val="C00000"/>
                </a:solidFill>
              </a:rPr>
              <a:t>20 октября</a:t>
            </a:r>
            <a:r>
              <a:rPr lang="ru-RU" sz="2000" dirty="0"/>
              <a:t>. </a:t>
            </a:r>
            <a:r>
              <a:rPr lang="ru-RU" sz="2000" i="1" dirty="0"/>
              <a:t>(Мы с удовольствием поможем делегатам правительства сделать презентацию как можно более </a:t>
            </a:r>
            <a:r>
              <a:rPr lang="kk-KZ" sz="2000" i="1" dirty="0" err="1"/>
              <a:t>привлекательной</a:t>
            </a:r>
            <a:r>
              <a:rPr lang="kk-KZ" sz="2000" i="1" dirty="0"/>
              <a:t>)</a:t>
            </a:r>
            <a:r>
              <a:rPr lang="en-US" sz="2000" i="1" dirty="0"/>
              <a:t>.</a:t>
            </a:r>
          </a:p>
          <a:p>
            <a:r>
              <a:rPr lang="ru-RU" sz="2000" b="1" dirty="0"/>
              <a:t>Убедительная просьба связаться с делегатами от ваших стран по поводу этой презентации и информации о проектах</a:t>
            </a:r>
            <a:r>
              <a:rPr lang="en-US" sz="2000" b="1" dirty="0"/>
              <a:t>.</a:t>
            </a:r>
          </a:p>
          <a:p>
            <a:r>
              <a:rPr lang="ru-RU" sz="2000" i="1" dirty="0"/>
              <a:t>Кроме того, в сентябре были разосланы приглашения на участие в ЭИФ ЦАРЭС. К настоящему </a:t>
            </a:r>
            <a:r>
              <a:rPr lang="ru-RU" sz="2000" b="1" i="1" dirty="0">
                <a:solidFill>
                  <a:srgbClr val="C00000"/>
                </a:solidFill>
              </a:rPr>
              <a:t>времени только </a:t>
            </a:r>
            <a:r>
              <a:rPr lang="en-US" sz="2000" b="1" i="1" dirty="0">
                <a:solidFill>
                  <a:srgbClr val="C00000"/>
                </a:solidFill>
              </a:rPr>
              <a:t>8</a:t>
            </a:r>
            <a:r>
              <a:rPr lang="ru-RU" sz="2000" b="1" i="1" dirty="0">
                <a:solidFill>
                  <a:srgbClr val="C00000"/>
                </a:solidFill>
              </a:rPr>
              <a:t> страны прислали своих номинантов</a:t>
            </a:r>
            <a:r>
              <a:rPr lang="en-US" sz="2000" b="1" i="1" dirty="0">
                <a:solidFill>
                  <a:srgbClr val="C00000"/>
                </a:solidFill>
              </a:rPr>
              <a:t>.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C306526-B936-5495-7646-B7394AF1397B}"/>
              </a:ext>
            </a:extLst>
          </p:cNvPr>
          <p:cNvSpPr txBox="1"/>
          <p:nvPr/>
        </p:nvSpPr>
        <p:spPr>
          <a:xfrm>
            <a:off x="8128415" y="2164866"/>
            <a:ext cx="3744594" cy="34511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latin typeface="Century Gothic" panose="020B0502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Для форуму по подбору партнеров во второй день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(29 ноября)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Мы были бы признательны, если бы каждая страна-участница привезла с собой несколько брошюр, листовок или других подобных материалов, которые можно было бы раздавать на каждой станции. Например, информационное пособие об инвестировании в страну А или что-то подобное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28" name="Picture 2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D11689D5-1943-F67F-51F6-37F9907063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95" y="1546864"/>
            <a:ext cx="914400" cy="914400"/>
          </a:xfrm>
          <a:prstGeom prst="rect">
            <a:avLst/>
          </a:prstGeom>
        </p:spPr>
      </p:pic>
      <p:pic>
        <p:nvPicPr>
          <p:cNvPr id="30" name="Picture 2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DC98A97E-9960-C63F-CB89-07216E4822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95" y="2829127"/>
            <a:ext cx="914400" cy="914400"/>
          </a:xfrm>
          <a:prstGeom prst="rect">
            <a:avLst/>
          </a:prstGeom>
        </p:spPr>
      </p:pic>
      <p:pic>
        <p:nvPicPr>
          <p:cNvPr id="32" name="Picture 3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BEA0F268-1A46-E3DB-CA74-8473F3BE14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72255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585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E9E38B2-F366-0632-198E-3F040A36B7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9E38B2-F366-0632-198E-3F040A36B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71AAFB-1570-A76A-76E6-A95FEF87A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4711B-2BBD-4434-9CFE-8F1E27B561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í$lïḍé">
            <a:extLst>
              <a:ext uri="{FF2B5EF4-FFF2-40B4-BE49-F238E27FC236}">
                <a16:creationId xmlns:a16="http://schemas.microsoft.com/office/drawing/2014/main" id="{517501E7-4FB6-227A-5FC3-9ACFEFEA4B28}"/>
              </a:ext>
            </a:extLst>
          </p:cNvPr>
          <p:cNvCxnSpPr>
            <a:cxnSpLocks/>
          </p:cNvCxnSpPr>
          <p:nvPr/>
        </p:nvCxnSpPr>
        <p:spPr>
          <a:xfrm>
            <a:off x="4062658" y="6273153"/>
            <a:ext cx="7804664" cy="23563"/>
          </a:xfrm>
          <a:prstGeom prst="line">
            <a:avLst/>
          </a:prstGeom>
          <a:ln w="254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îs1ïďè">
            <a:extLst>
              <a:ext uri="{FF2B5EF4-FFF2-40B4-BE49-F238E27FC236}">
                <a16:creationId xmlns:a16="http://schemas.microsoft.com/office/drawing/2014/main" id="{3C24190D-6B9C-9709-1CFB-E4ABFCFDB483}"/>
              </a:ext>
            </a:extLst>
          </p:cNvPr>
          <p:cNvGrpSpPr/>
          <p:nvPr/>
        </p:nvGrpSpPr>
        <p:grpSpPr>
          <a:xfrm>
            <a:off x="5471968" y="6057129"/>
            <a:ext cx="432048" cy="432048"/>
            <a:chOff x="4264950" y="5651169"/>
            <a:chExt cx="432048" cy="432048"/>
          </a:xfrm>
        </p:grpSpPr>
        <p:sp>
          <p:nvSpPr>
            <p:cNvPr id="11" name="ïṩlîďe">
              <a:extLst>
                <a:ext uri="{FF2B5EF4-FFF2-40B4-BE49-F238E27FC236}">
                  <a16:creationId xmlns:a16="http://schemas.microsoft.com/office/drawing/2014/main" id="{3FBAB795-E467-B03A-D636-1B263319CCA2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2" name="iślïdé">
              <a:extLst>
                <a:ext uri="{FF2B5EF4-FFF2-40B4-BE49-F238E27FC236}">
                  <a16:creationId xmlns:a16="http://schemas.microsoft.com/office/drawing/2014/main" id="{622F799C-1E3B-9D39-1EBE-9931724C93D1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13" name="í$ľîḑè">
            <a:extLst>
              <a:ext uri="{FF2B5EF4-FFF2-40B4-BE49-F238E27FC236}">
                <a16:creationId xmlns:a16="http://schemas.microsoft.com/office/drawing/2014/main" id="{14AF69FA-0A75-BA39-FFA5-D500534B723F}"/>
              </a:ext>
            </a:extLst>
          </p:cNvPr>
          <p:cNvGrpSpPr/>
          <p:nvPr/>
        </p:nvGrpSpPr>
        <p:grpSpPr>
          <a:xfrm>
            <a:off x="11181480" y="6057129"/>
            <a:ext cx="432048" cy="432048"/>
            <a:chOff x="4264950" y="5651169"/>
            <a:chExt cx="432048" cy="432048"/>
          </a:xfrm>
        </p:grpSpPr>
        <p:sp>
          <p:nvSpPr>
            <p:cNvPr id="14" name="í$ľíḑè">
              <a:extLst>
                <a:ext uri="{FF2B5EF4-FFF2-40B4-BE49-F238E27FC236}">
                  <a16:creationId xmlns:a16="http://schemas.microsoft.com/office/drawing/2014/main" id="{4C0625B8-BD84-36F4-891F-45F6FC0B275F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5" name="ísḻiḍê">
              <a:extLst>
                <a:ext uri="{FF2B5EF4-FFF2-40B4-BE49-F238E27FC236}">
                  <a16:creationId xmlns:a16="http://schemas.microsoft.com/office/drawing/2014/main" id="{064A02FB-66C1-EE14-C5BD-5605F8ADB252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17" name="Title 7">
            <a:extLst>
              <a:ext uri="{FF2B5EF4-FFF2-40B4-BE49-F238E27FC236}">
                <a16:creationId xmlns:a16="http://schemas.microsoft.com/office/drawing/2014/main" id="{6F0ABB95-227F-708A-C8F0-0E1C6229E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739" y="173235"/>
            <a:ext cx="10613383" cy="860387"/>
          </a:xfrm>
        </p:spPr>
        <p:txBody>
          <a:bodyPr vert="horz" anchor="ctr">
            <a:normAutofit/>
          </a:bodyPr>
          <a:lstStyle/>
          <a:p>
            <a:r>
              <a:rPr lang="ru-RU" sz="3200" b="1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rPr>
              <a:t>Дальнейшие шаги</a:t>
            </a:r>
            <a:endParaRPr lang="en-US" sz="3200" b="1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0B30706-CF35-0C10-96AB-03485E0410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93099" y="1350403"/>
            <a:ext cx="9896069" cy="5333606"/>
          </a:xfrm>
        </p:spPr>
        <p:txBody>
          <a:bodyPr vert="horz" lIns="91440" tIns="45720" rIns="91440" bIns="45720" rtlCol="0" anchor="ctr">
            <a:noAutofit/>
          </a:bodyPr>
          <a:lstStyle/>
          <a:p>
            <a:pPr marL="0" indent="0">
              <a:spcBef>
                <a:spcPts val="1800"/>
              </a:spcBef>
              <a:spcAft>
                <a:spcPts val="1200"/>
              </a:spcAft>
              <a:buNone/>
            </a:pPr>
            <a:r>
              <a:rPr lang="ru-RU" sz="2000" dirty="0">
                <a:latin typeface="Century Gothic" panose="020B0502020202020204" pitchFamily="34" charset="0"/>
              </a:rPr>
              <a:t>Семинар по межсетевому соединению и региональной передаче электроэнергии в 1 квартале 2024 года.</a:t>
            </a:r>
          </a:p>
          <a:p>
            <a:pPr marL="0" indent="0">
              <a:spcBef>
                <a:spcPts val="1800"/>
              </a:spcBef>
              <a:spcAft>
                <a:spcPts val="1200"/>
              </a:spcAft>
              <a:buNone/>
            </a:pPr>
            <a:r>
              <a:rPr lang="ru-RU" sz="2000" dirty="0">
                <a:latin typeface="Century Gothic" panose="020B0502020202020204" pitchFamily="34" charset="0"/>
              </a:rPr>
              <a:t>Ознакомительная поездка в страну с развитым энергетическим рынком (Северный регион) в 2024 г( точные сроки будут объявлены позже).</a:t>
            </a:r>
          </a:p>
          <a:p>
            <a:pPr marL="0" indent="0">
              <a:spcBef>
                <a:spcPts val="1800"/>
              </a:spcBef>
              <a:spcAft>
                <a:spcPts val="1200"/>
              </a:spcAft>
              <a:buNone/>
            </a:pPr>
            <a:r>
              <a:rPr lang="ru-RU" sz="2000" dirty="0">
                <a:latin typeface="Century Gothic" panose="020B0502020202020204" pitchFamily="34" charset="0"/>
              </a:rPr>
              <a:t>7-й Энергетический инвестиционный форум в Казахстане (председательство ЦАРЭС 2024) в 4-м квартале 2024 года.</a:t>
            </a:r>
          </a:p>
          <a:p>
            <a:pPr marL="0" indent="0">
              <a:spcBef>
                <a:spcPts val="1800"/>
              </a:spcBef>
              <a:spcAft>
                <a:spcPts val="1200"/>
              </a:spcAft>
              <a:buNone/>
            </a:pPr>
            <a:r>
              <a:rPr lang="ru-RU" sz="2000" dirty="0">
                <a:latin typeface="Century Gothic" panose="020B0502020202020204" pitchFamily="34" charset="0"/>
              </a:rPr>
              <a:t>Семинар по устойчивому теплоснабжению и энергоэффективности в 1 квартале 2025 г..</a:t>
            </a:r>
            <a:endParaRPr lang="en-US" sz="2000" dirty="0">
              <a:latin typeface="Century Gothic" panose="020B0502020202020204" pitchFamily="34" charset="0"/>
            </a:endParaRPr>
          </a:p>
        </p:txBody>
      </p:sp>
      <p:pic>
        <p:nvPicPr>
          <p:cNvPr id="18" name="Picture 1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5A30758-0C4D-58E4-FE32-F12C2B625B1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90" y="4129374"/>
            <a:ext cx="822960" cy="822960"/>
          </a:xfrm>
          <a:prstGeom prst="rect">
            <a:avLst/>
          </a:prstGeom>
        </p:spPr>
      </p:pic>
      <p:pic>
        <p:nvPicPr>
          <p:cNvPr id="19" name="Picture 1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25A849A0-33F0-2CB4-7518-D39B6C07BE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379" y="2063362"/>
            <a:ext cx="731520" cy="731520"/>
          </a:xfrm>
          <a:prstGeom prst="rect">
            <a:avLst/>
          </a:prstGeom>
        </p:spPr>
      </p:pic>
      <p:pic>
        <p:nvPicPr>
          <p:cNvPr id="20" name="Picture 1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B961E2F6-38E0-FE6C-DD94-C2CABAE528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90" y="5228256"/>
            <a:ext cx="731520" cy="731520"/>
          </a:xfrm>
          <a:prstGeom prst="rect">
            <a:avLst/>
          </a:prstGeom>
        </p:spPr>
      </p:pic>
      <p:pic>
        <p:nvPicPr>
          <p:cNvPr id="23" name="Picture 2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74077E1F-8C77-26F2-6A80-1CF0115C543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90" y="3070527"/>
            <a:ext cx="731520" cy="73152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26D5FFBF-0595-3F69-F46A-4DBABE1890CA}"/>
              </a:ext>
            </a:extLst>
          </p:cNvPr>
          <p:cNvSpPr txBox="1"/>
          <p:nvPr/>
        </p:nvSpPr>
        <p:spPr>
          <a:xfrm>
            <a:off x="1589009" y="1068701"/>
            <a:ext cx="924311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ланируемая дальнейшая деятельность энергетического сектора ЦАРЭС: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22397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91E8A6-B5C5-6E0D-6F51-0E575B5795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1050" y="1067096"/>
            <a:ext cx="11010899" cy="1976150"/>
          </a:xfrm>
        </p:spPr>
        <p:txBody>
          <a:bodyPr anchor="t">
            <a:noAutofit/>
          </a:bodyPr>
          <a:lstStyle/>
          <a:p>
            <a:pPr algn="l"/>
            <a:r>
              <a:rPr lang="ru-RU" sz="3600" b="1" dirty="0"/>
              <a:t>Презентация исследования ЦАРЭС: </a:t>
            </a:r>
            <a:br>
              <a:rPr lang="en-US" sz="3600" b="1" dirty="0"/>
            </a:br>
            <a:r>
              <a:rPr lang="ru-RU" sz="3600" b="1" dirty="0"/>
              <a:t>Диверсификация торговых потоков и транспортных и транзитных маршрутов в регионе ЦАРЭС</a:t>
            </a:r>
            <a:endParaRPr lang="en-US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13EE05-B770-EEFC-BFDA-94A1B6C938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1049" y="4010025"/>
            <a:ext cx="11410951" cy="1200329"/>
          </a:xfrm>
        </p:spPr>
        <p:txBody>
          <a:bodyPr>
            <a:norm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Роман Могилевский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Отдел регионального сотрудничества и интеграции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Департамент Центральной и Западной Азии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Азиатский банк развития</a:t>
            </a:r>
            <a:endParaRPr lang="en-US" sz="1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640CC00-326F-C072-64D0-00B9CC46186B}"/>
              </a:ext>
            </a:extLst>
          </p:cNvPr>
          <p:cNvSpPr txBox="1"/>
          <p:nvPr/>
        </p:nvSpPr>
        <p:spPr>
          <a:xfrm>
            <a:off x="7924861" y="5210354"/>
            <a:ext cx="386708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седание национальных координаторов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8 октября 2023 г.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45685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6C513CA-655E-CBAC-E2B6-BC0049173198}"/>
              </a:ext>
            </a:extLst>
          </p:cNvPr>
          <p:cNvSpPr/>
          <p:nvPr/>
        </p:nvSpPr>
        <p:spPr>
          <a:xfrm>
            <a:off x="4638209" y="92599"/>
            <a:ext cx="6843435" cy="2485667"/>
          </a:xfrm>
          <a:prstGeom prst="roundRect">
            <a:avLst>
              <a:gd name="adj" fmla="val 911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80CCF3A-9E7E-A198-EFDE-CC90149AB8A8}"/>
              </a:ext>
            </a:extLst>
          </p:cNvPr>
          <p:cNvSpPr txBox="1"/>
          <p:nvPr/>
        </p:nvSpPr>
        <p:spPr>
          <a:xfrm>
            <a:off x="4697882" y="1111372"/>
            <a:ext cx="678376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00B050"/>
                </a:solidFill>
                <a:latin typeface="Abadi" panose="020B0604020104020204" pitchFamily="34" charset="0"/>
              </a:rPr>
              <a:t>Азербайджан</a:t>
            </a:r>
            <a:r>
              <a:rPr lang="en-US" sz="1600" b="1" dirty="0">
                <a:solidFill>
                  <a:srgbClr val="00B050"/>
                </a:solidFill>
                <a:latin typeface="Abadi" panose="020B0604020104020204" pitchFamily="34" charset="0"/>
              </a:rPr>
              <a:t>, </a:t>
            </a:r>
            <a:r>
              <a:rPr lang="ru-RU" sz="1600" b="1" dirty="0">
                <a:solidFill>
                  <a:srgbClr val="00B050"/>
                </a:solidFill>
                <a:latin typeface="Abadi" panose="020B0604020104020204" pitchFamily="34" charset="0"/>
              </a:rPr>
              <a:t>Казахстан</a:t>
            </a:r>
            <a:r>
              <a:rPr lang="en-US" sz="1600" b="1" dirty="0">
                <a:solidFill>
                  <a:srgbClr val="00B050"/>
                </a:solidFill>
                <a:latin typeface="Abadi" panose="020B0604020104020204" pitchFamily="34" charset="0"/>
              </a:rPr>
              <a:t>, </a:t>
            </a:r>
            <a:r>
              <a:rPr lang="ru-RU" sz="1600" b="1" dirty="0">
                <a:solidFill>
                  <a:srgbClr val="00B050"/>
                </a:solidFill>
                <a:latin typeface="Abadi" panose="020B0604020104020204" pitchFamily="34" charset="0"/>
              </a:rPr>
              <a:t>Кыргызстан</a:t>
            </a:r>
            <a:r>
              <a:rPr lang="en-US" sz="1600" b="1" dirty="0">
                <a:solidFill>
                  <a:srgbClr val="00B050"/>
                </a:solidFill>
                <a:latin typeface="Abadi" panose="020B0604020104020204" pitchFamily="34" charset="0"/>
              </a:rPr>
              <a:t>, </a:t>
            </a:r>
            <a:r>
              <a:rPr lang="ru-RU" sz="1600" b="1" dirty="0">
                <a:solidFill>
                  <a:srgbClr val="00B050"/>
                </a:solidFill>
                <a:latin typeface="Abadi" panose="020B0604020104020204" pitchFamily="34" charset="0"/>
              </a:rPr>
              <a:t>Таджикистан</a:t>
            </a:r>
            <a:r>
              <a:rPr lang="en-US" sz="1600" b="1" dirty="0">
                <a:solidFill>
                  <a:srgbClr val="00B050"/>
                </a:solidFill>
                <a:latin typeface="Abadi" panose="020B0604020104020204" pitchFamily="34" charset="0"/>
              </a:rPr>
              <a:t>, </a:t>
            </a:r>
            <a:r>
              <a:rPr lang="ru-RU" sz="1600" b="1" dirty="0">
                <a:solidFill>
                  <a:srgbClr val="00B050"/>
                </a:solidFill>
                <a:latin typeface="Abadi" panose="020B0604020104020204" pitchFamily="34" charset="0"/>
              </a:rPr>
              <a:t>Туркменистан</a:t>
            </a:r>
            <a:r>
              <a:rPr lang="ru-RU" sz="1600" b="1" dirty="0">
                <a:latin typeface="Abadi" panose="020B0604020104020204" pitchFamily="34" charset="0"/>
              </a:rPr>
              <a:t> и</a:t>
            </a:r>
            <a:r>
              <a:rPr lang="ru-RU" sz="1600" b="1" dirty="0">
                <a:solidFill>
                  <a:srgbClr val="00B050"/>
                </a:solidFill>
                <a:latin typeface="Abadi" panose="020B0604020104020204" pitchFamily="34" charset="0"/>
              </a:rPr>
              <a:t> Узбекистан </a:t>
            </a:r>
            <a:r>
              <a:rPr lang="ru-RU" sz="1600" b="1" dirty="0">
                <a:latin typeface="Abadi" panose="020B0604020104020204" pitchFamily="34" charset="0"/>
              </a:rPr>
              <a:t>–</a:t>
            </a:r>
            <a:r>
              <a:rPr lang="ru-RU" sz="1600" b="1" dirty="0">
                <a:solidFill>
                  <a:srgbClr val="00B050"/>
                </a:solidFill>
                <a:latin typeface="Abadi" panose="020B0604020104020204" pitchFamily="34" charset="0"/>
              </a:rPr>
              <a:t> </a:t>
            </a:r>
            <a:r>
              <a:rPr lang="ru-RU" sz="1600" b="1" dirty="0">
                <a:latin typeface="Abadi" panose="020B0604020104020204" pitchFamily="34" charset="0"/>
              </a:rPr>
              <a:t>12 сентября 2023 года</a:t>
            </a:r>
            <a:endParaRPr lang="en-US" sz="1600" b="1" dirty="0">
              <a:latin typeface="Abadi" panose="020B06040201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00B050"/>
                </a:solidFill>
                <a:latin typeface="Abadi" panose="020B0604020104020204" pitchFamily="34" charset="0"/>
              </a:rPr>
              <a:t>Грузия</a:t>
            </a:r>
            <a:r>
              <a:rPr lang="en-US" sz="1600" b="1" dirty="0">
                <a:latin typeface="Abadi" panose="020B0604020104020204" pitchFamily="34" charset="0"/>
              </a:rPr>
              <a:t> </a:t>
            </a:r>
            <a:r>
              <a:rPr lang="ru-RU" sz="1600" b="1" dirty="0">
                <a:latin typeface="Abadi" panose="020B0604020104020204" pitchFamily="34" charset="0"/>
              </a:rPr>
              <a:t>и</a:t>
            </a:r>
            <a:r>
              <a:rPr lang="en-US" sz="1600" b="1" dirty="0">
                <a:latin typeface="Abadi" panose="020B0604020104020204" pitchFamily="34" charset="0"/>
              </a:rPr>
              <a:t> </a:t>
            </a:r>
            <a:r>
              <a:rPr lang="ru-RU" sz="1600" b="1" dirty="0">
                <a:solidFill>
                  <a:srgbClr val="00B050"/>
                </a:solidFill>
                <a:latin typeface="Abadi" panose="020B0604020104020204" pitchFamily="34" charset="0"/>
              </a:rPr>
              <a:t>Пакистан</a:t>
            </a:r>
            <a:r>
              <a:rPr lang="en-US" sz="1600" b="1" dirty="0">
                <a:latin typeface="Abadi" panose="020B0604020104020204" pitchFamily="34" charset="0"/>
              </a:rPr>
              <a:t> </a:t>
            </a:r>
            <a:r>
              <a:rPr lang="ru-RU" sz="1600" b="1" dirty="0">
                <a:latin typeface="Abadi" panose="020B0604020104020204" pitchFamily="34" charset="0"/>
              </a:rPr>
              <a:t>сентября 2023 г.</a:t>
            </a:r>
            <a:endParaRPr lang="en-US" sz="1600" b="1" dirty="0">
              <a:latin typeface="Abadi" panose="020B06040201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00B050"/>
                </a:solidFill>
                <a:latin typeface="Abadi" panose="020B0604020104020204" pitchFamily="34" charset="0"/>
              </a:rPr>
              <a:t>Монголия</a:t>
            </a:r>
            <a:r>
              <a:rPr lang="en-US" sz="1600" b="1" dirty="0">
                <a:latin typeface="Abadi" panose="020B0604020104020204" pitchFamily="34" charset="0"/>
              </a:rPr>
              <a:t> </a:t>
            </a:r>
            <a:r>
              <a:rPr lang="ru-RU" sz="1600" b="1" dirty="0">
                <a:latin typeface="Abadi" panose="020B0604020104020204" pitchFamily="34" charset="0"/>
              </a:rPr>
              <a:t>– 14 сентября 2023 г.</a:t>
            </a:r>
            <a:endParaRPr lang="en-US" sz="1600" b="1" dirty="0">
              <a:latin typeface="Abadi" panose="020B06040201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00B050"/>
                </a:solidFill>
                <a:latin typeface="Abadi" panose="020B0604020104020204" pitchFamily="34" charset="0"/>
              </a:rPr>
              <a:t>КНР </a:t>
            </a:r>
            <a:r>
              <a:rPr lang="ru-RU" sz="1600" b="1" dirty="0">
                <a:latin typeface="Abadi" panose="020B0604020104020204" pitchFamily="34" charset="0"/>
              </a:rPr>
              <a:t>–</a:t>
            </a:r>
            <a:r>
              <a:rPr lang="ru-RU" sz="1600" b="1" dirty="0">
                <a:solidFill>
                  <a:srgbClr val="00B050"/>
                </a:solidFill>
                <a:latin typeface="Abadi" panose="020B0604020104020204" pitchFamily="34" charset="0"/>
              </a:rPr>
              <a:t> </a:t>
            </a:r>
            <a:r>
              <a:rPr lang="ru-RU" sz="1600" b="1" dirty="0">
                <a:latin typeface="Abadi" panose="020B0604020104020204" pitchFamily="34" charset="0"/>
              </a:rPr>
              <a:t>письменные комментарии предоставлены 15 сентября 2023 г. и</a:t>
            </a:r>
            <a:endParaRPr lang="en-US" sz="1600" b="1" dirty="0">
              <a:latin typeface="Abadi" panose="020B0604020104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CBAE97D-CEC0-7A67-C828-81AE2FAFA7EB}"/>
              </a:ext>
            </a:extLst>
          </p:cNvPr>
          <p:cNvSpPr txBox="1"/>
          <p:nvPr/>
        </p:nvSpPr>
        <p:spPr>
          <a:xfrm>
            <a:off x="4850684" y="280375"/>
            <a:ext cx="51143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Консультации со странами </a:t>
            </a:r>
          </a:p>
          <a:p>
            <a:r>
              <a:rPr lang="ru-RU" sz="24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(НК и соответствующие ведомства)</a:t>
            </a:r>
            <a:endParaRPr lang="en-US" sz="2400" b="1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badi" panose="020B0604020104020204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F8493D3-7846-C0AC-29DB-DE4C8543496E}"/>
              </a:ext>
            </a:extLst>
          </p:cNvPr>
          <p:cNvSpPr/>
          <p:nvPr/>
        </p:nvSpPr>
        <p:spPr>
          <a:xfrm>
            <a:off x="4697882" y="2705437"/>
            <a:ext cx="6852843" cy="3041191"/>
          </a:xfrm>
          <a:prstGeom prst="roundRect">
            <a:avLst>
              <a:gd name="adj" fmla="val 911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903C28F-C4B1-9F73-46B6-9E3287EC3A80}"/>
              </a:ext>
            </a:extLst>
          </p:cNvPr>
          <p:cNvSpPr txBox="1"/>
          <p:nvPr/>
        </p:nvSpPr>
        <p:spPr>
          <a:xfrm>
            <a:off x="4697882" y="3483695"/>
            <a:ext cx="659734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b="1" dirty="0">
                <a:latin typeface="Abadi" panose="020B0604020104020204" pitchFamily="34" charset="0"/>
              </a:rPr>
              <a:t>Представлены на </a:t>
            </a:r>
            <a:r>
              <a:rPr lang="ru-RU" sz="2000" b="1" dirty="0">
                <a:solidFill>
                  <a:srgbClr val="00B050"/>
                </a:solidFill>
                <a:latin typeface="Abadi" panose="020B0604020104020204" pitchFamily="34" charset="0"/>
              </a:rPr>
              <a:t>Форуме по изменению климата Института ЦАРЭС</a:t>
            </a:r>
            <a:r>
              <a:rPr lang="en-US" sz="2000" b="1" dirty="0">
                <a:solidFill>
                  <a:srgbClr val="00B050"/>
                </a:solidFill>
                <a:latin typeface="Abadi" panose="020B0604020104020204" pitchFamily="34" charset="0"/>
              </a:rPr>
              <a:t> </a:t>
            </a:r>
            <a:r>
              <a:rPr lang="ru-RU" sz="2000" b="1" dirty="0">
                <a:latin typeface="Abadi" panose="020B0604020104020204" pitchFamily="34" charset="0"/>
              </a:rPr>
              <a:t>20 сентября 2023 г.</a:t>
            </a:r>
            <a:endParaRPr lang="en-US" sz="2000" b="1" dirty="0">
              <a:latin typeface="Abadi" panose="020B06040201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b="1" dirty="0">
                <a:latin typeface="Abadi" panose="020B0604020104020204" pitchFamily="34" charset="0"/>
              </a:rPr>
              <a:t>С</a:t>
            </a:r>
            <a:r>
              <a:rPr lang="ru-RU" sz="2000" b="1" dirty="0">
                <a:solidFill>
                  <a:srgbClr val="00B050"/>
                </a:solidFill>
                <a:latin typeface="Abadi" panose="020B0604020104020204" pitchFamily="34" charset="0"/>
              </a:rPr>
              <a:t> партнерами по развитию </a:t>
            </a:r>
            <a:r>
              <a:rPr lang="ru-RU" sz="2000" b="1" dirty="0">
                <a:latin typeface="Abadi" panose="020B0604020104020204" pitchFamily="34" charset="0"/>
              </a:rPr>
              <a:t>–</a:t>
            </a:r>
            <a:r>
              <a:rPr lang="ru-RU" sz="2000" b="1" dirty="0">
                <a:solidFill>
                  <a:srgbClr val="00B050"/>
                </a:solidFill>
                <a:latin typeface="Abadi" panose="020B0604020104020204" pitchFamily="34" charset="0"/>
              </a:rPr>
              <a:t> </a:t>
            </a:r>
            <a:r>
              <a:rPr lang="ru-RU" sz="2000" b="1" dirty="0">
                <a:latin typeface="Abadi" panose="020B0604020104020204" pitchFamily="34" charset="0"/>
              </a:rPr>
              <a:t>11 октября 2023 г.</a:t>
            </a:r>
            <a:endParaRPr lang="en-US" sz="2000" b="1" dirty="0">
              <a:latin typeface="Abadi" panose="020B06040201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b="1" dirty="0">
                <a:latin typeface="Abadi" panose="020B0604020104020204" pitchFamily="34" charset="0"/>
              </a:rPr>
              <a:t>С</a:t>
            </a:r>
            <a:r>
              <a:rPr lang="en-US" sz="2000" b="1" dirty="0">
                <a:latin typeface="Abadi" panose="020B0604020104020204" pitchFamily="34" charset="0"/>
              </a:rPr>
              <a:t> </a:t>
            </a:r>
            <a:r>
              <a:rPr lang="ru-RU" sz="2000" b="1" dirty="0">
                <a:solidFill>
                  <a:srgbClr val="00B050"/>
                </a:solidFill>
                <a:latin typeface="Abadi" panose="020B0604020104020204" pitchFamily="34" charset="0"/>
              </a:rPr>
              <a:t>аналитическими центрами</a:t>
            </a:r>
            <a:r>
              <a:rPr lang="en-US" sz="2000" b="1" dirty="0">
                <a:solidFill>
                  <a:srgbClr val="00B050"/>
                </a:solidFill>
                <a:latin typeface="Abadi" panose="020B0604020104020204" pitchFamily="34" charset="0"/>
              </a:rPr>
              <a:t> </a:t>
            </a:r>
            <a:r>
              <a:rPr lang="ru-RU" sz="2000" b="1" dirty="0">
                <a:latin typeface="Abadi" panose="020B0604020104020204" pitchFamily="34" charset="0"/>
              </a:rPr>
              <a:t>– организованы Институтом ЦАРЭС 13 октября 2023 г.</a:t>
            </a:r>
            <a:endParaRPr lang="en-US" sz="2000" b="1" dirty="0">
              <a:latin typeface="Abadi" panose="020B0604020104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5617A2A-C50E-DD39-8D89-1DF38640DBC1}"/>
              </a:ext>
            </a:extLst>
          </p:cNvPr>
          <p:cNvSpPr txBox="1"/>
          <p:nvPr/>
        </p:nvSpPr>
        <p:spPr>
          <a:xfrm>
            <a:off x="4850684" y="2636819"/>
            <a:ext cx="66309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Консультации с партнерами по развитию и аналитическими центрами</a:t>
            </a:r>
            <a:endParaRPr lang="en-US" sz="2400" b="1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badi" panose="020B0604020104020204" pitchFamily="34" charset="0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67C57DB1-30AF-6C59-EC37-8250D7040B46}"/>
              </a:ext>
            </a:extLst>
          </p:cNvPr>
          <p:cNvSpPr/>
          <p:nvPr/>
        </p:nvSpPr>
        <p:spPr>
          <a:xfrm>
            <a:off x="160027" y="92599"/>
            <a:ext cx="4133850" cy="6858000"/>
          </a:xfrm>
          <a:custGeom>
            <a:avLst/>
            <a:gdLst>
              <a:gd name="connsiteX0" fmla="*/ 0 w 8399253"/>
              <a:gd name="connsiteY0" fmla="*/ 0 h 6858000"/>
              <a:gd name="connsiteX1" fmla="*/ 7825993 w 8399253"/>
              <a:gd name="connsiteY1" fmla="*/ 0 h 6858000"/>
              <a:gd name="connsiteX2" fmla="*/ 8399253 w 8399253"/>
              <a:gd name="connsiteY2" fmla="*/ 573260 h 6858000"/>
              <a:gd name="connsiteX3" fmla="*/ 8399253 w 8399253"/>
              <a:gd name="connsiteY3" fmla="*/ 6284740 h 6858000"/>
              <a:gd name="connsiteX4" fmla="*/ 7825993 w 8399253"/>
              <a:gd name="connsiteY4" fmla="*/ 6858000 h 6858000"/>
              <a:gd name="connsiteX5" fmla="*/ 0 w 8399253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99253" h="6858000">
                <a:moveTo>
                  <a:pt x="0" y="0"/>
                </a:moveTo>
                <a:lnTo>
                  <a:pt x="7825993" y="0"/>
                </a:lnTo>
                <a:cubicBezTo>
                  <a:pt x="8142596" y="0"/>
                  <a:pt x="8399253" y="256657"/>
                  <a:pt x="8399253" y="573260"/>
                </a:cubicBezTo>
                <a:lnTo>
                  <a:pt x="8399253" y="6284740"/>
                </a:lnTo>
                <a:cubicBezTo>
                  <a:pt x="8399253" y="6601343"/>
                  <a:pt x="8142596" y="6858000"/>
                  <a:pt x="7825993" y="6858000"/>
                </a:cubicBezTo>
                <a:lnTo>
                  <a:pt x="0" y="6858000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>
              <a:lnSpc>
                <a:spcPct val="85000"/>
              </a:lnSpc>
            </a:pPr>
            <a:endParaRPr lang="en-US" sz="5400" b="1" i="1">
              <a:solidFill>
                <a:schemeClr val="bg1"/>
              </a:solidFill>
              <a:latin typeface="Abadi" panose="020B0604020104020204" pitchFamily="34" charset="0"/>
              <a:cs typeface="Arial"/>
            </a:endParaRPr>
          </a:p>
          <a:p>
            <a:pPr>
              <a:lnSpc>
                <a:spcPct val="85000"/>
              </a:lnSpc>
            </a:pPr>
            <a:endParaRPr lang="en-US" sz="5400" b="1" i="1">
              <a:solidFill>
                <a:schemeClr val="bg1"/>
              </a:solidFill>
              <a:latin typeface="Abadi" panose="020B0604020104020204" pitchFamily="34" charset="0"/>
              <a:cs typeface="Arial"/>
            </a:endParaRPr>
          </a:p>
          <a:p>
            <a:pPr algn="ctr"/>
            <a:endParaRPr lang="en-US"/>
          </a:p>
        </p:txBody>
      </p:sp>
      <p:pic>
        <p:nvPicPr>
          <p:cNvPr id="5" name="Picture 4" descr="A logo with a red and yellow circle&#10;&#10;Description automatically generated">
            <a:extLst>
              <a:ext uri="{FF2B5EF4-FFF2-40B4-BE49-F238E27FC236}">
                <a16:creationId xmlns:a16="http://schemas.microsoft.com/office/drawing/2014/main" id="{AF322524-64DC-7F56-020A-4A0FEFB7B0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364" y="182383"/>
            <a:ext cx="1173191" cy="11731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B98C4EC-CA94-7007-0956-AA5CBB0A0C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0683" y="2567652"/>
            <a:ext cx="2886113" cy="375194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D6E6468-C20D-1DA2-3AC3-B5D236B5A65D}"/>
              </a:ext>
            </a:extLst>
          </p:cNvPr>
          <p:cNvSpPr txBox="1"/>
          <p:nvPr/>
        </p:nvSpPr>
        <p:spPr>
          <a:xfrm>
            <a:off x="1643892" y="182383"/>
            <a:ext cx="2746686" cy="19268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</a:pPr>
            <a:r>
              <a:rPr lang="ru-RU" sz="2800" b="1" i="1" dirty="0">
                <a:solidFill>
                  <a:schemeClr val="bg1"/>
                </a:solidFill>
                <a:latin typeface="Abadi" panose="020B0604020104020204" pitchFamily="34" charset="0"/>
                <a:cs typeface="Arial"/>
              </a:rPr>
              <a:t>Путь к видению ЦАРЭС в области изменения климата</a:t>
            </a:r>
            <a:endParaRPr lang="en-US" sz="2800" b="1" i="1" dirty="0">
              <a:solidFill>
                <a:schemeClr val="bg1"/>
              </a:solidFill>
              <a:latin typeface="Abadi" panose="020B0604020104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: Rounded Corners 10">
            <a:extLst>
              <a:ext uri="{FF2B5EF4-FFF2-40B4-BE49-F238E27FC236}">
                <a16:creationId xmlns:a16="http://schemas.microsoft.com/office/drawing/2014/main" id="{5E250E29-70E9-A4D8-8C94-BBD70A35D769}"/>
              </a:ext>
            </a:extLst>
          </p:cNvPr>
          <p:cNvSpPr/>
          <p:nvPr/>
        </p:nvSpPr>
        <p:spPr>
          <a:xfrm>
            <a:off x="5314362" y="5873799"/>
            <a:ext cx="6843435" cy="891602"/>
          </a:xfrm>
          <a:prstGeom prst="roundRect">
            <a:avLst>
              <a:gd name="adj" fmla="val 9111"/>
            </a:avLst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DC9DB77-A088-B5B0-E973-0F19D3A7757D}"/>
              </a:ext>
            </a:extLst>
          </p:cNvPr>
          <p:cNvSpPr txBox="1"/>
          <p:nvPr/>
        </p:nvSpPr>
        <p:spPr>
          <a:xfrm>
            <a:off x="5561040" y="5815246"/>
            <a:ext cx="66309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Видение в области изменения климата </a:t>
            </a:r>
            <a:r>
              <a:rPr lang="ru-RU" sz="20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будет утверждено министрами в ход</a:t>
            </a:r>
            <a:r>
              <a:rPr lang="ru-RU" sz="20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е 22-ой МК ЦАРЭС в Тбилиси</a:t>
            </a:r>
            <a:endParaRPr lang="en-US" sz="2000" b="1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badi" panose="020B0604020104020204" pitchFamily="34" charset="0"/>
            </a:endParaRPr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B4C28D4C-6640-9F5E-B15B-23ACBCD084AC}"/>
              </a:ext>
            </a:extLst>
          </p:cNvPr>
          <p:cNvSpPr/>
          <p:nvPr/>
        </p:nvSpPr>
        <p:spPr>
          <a:xfrm>
            <a:off x="4548429" y="6048936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2948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2A9952B-191E-E711-798A-373B6201008D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-3248" y="450254"/>
            <a:ext cx="12176198" cy="68233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4B8FAAA-8856-4562-DF32-255B0F23A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520" y="111126"/>
            <a:ext cx="11409680" cy="1014290"/>
          </a:xfrm>
        </p:spPr>
        <p:txBody>
          <a:bodyPr>
            <a:normAutofit/>
          </a:bodyPr>
          <a:lstStyle/>
          <a:p>
            <a:r>
              <a:rPr lang="ru-RU" sz="3600" b="1" dirty="0"/>
              <a:t>Введение</a:t>
            </a:r>
            <a:endParaRPr lang="en-US" sz="36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AB2C32-5E3B-E546-E6B9-F53E8C2EEE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5600" y="1511656"/>
            <a:ext cx="11623040" cy="4757063"/>
          </a:xfrm>
        </p:spPr>
        <p:txBody>
          <a:bodyPr>
            <a:normAutofit fontScale="92500" lnSpcReduction="10000"/>
          </a:bodyPr>
          <a:lstStyle/>
          <a:p>
            <a:r>
              <a:rPr lang="ru-RU" dirty="0"/>
              <a:t>Данная работа отвечает на запросы по анализу влияния последних потрясений на торговлю и транзит в регионе ЦАРЭС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	- </a:t>
            </a:r>
            <a:r>
              <a:rPr lang="ru-RU" dirty="0"/>
              <a:t>изменения и диверсификация торговых потоков</a:t>
            </a:r>
          </a:p>
          <a:p>
            <a:pPr marL="0" indent="0">
              <a:buNone/>
            </a:pPr>
            <a:r>
              <a:rPr lang="ru-RU" dirty="0"/>
              <a:t>	- текущая ситуация и альтернативные варианты транзита</a:t>
            </a:r>
            <a:endParaRPr lang="en-US" dirty="0"/>
          </a:p>
          <a:p>
            <a:r>
              <a:rPr lang="ru-RU" dirty="0"/>
              <a:t>Данная работа находится на этапе доработки, окончательный вариант ожидается в 2024 г.</a:t>
            </a:r>
          </a:p>
          <a:p>
            <a:r>
              <a:rPr lang="ru-RU" dirty="0"/>
              <a:t>Предварительный вариант будет представлен на панельной сессии Министерской конференции, 2023 г.: </a:t>
            </a:r>
            <a:r>
              <a:rPr lang="ru-RU" i="1" dirty="0"/>
              <a:t>«Переориентация торговых потоков и альтернативные маршруты в регионе ЦАРЭС» </a:t>
            </a:r>
          </a:p>
          <a:p>
            <a:r>
              <a:rPr lang="ru-RU" dirty="0"/>
              <a:t>Участники панельной сессии - партнеры по развитию, частный сектор, правительства</a:t>
            </a:r>
          </a:p>
          <a:p>
            <a:r>
              <a:rPr lang="ru-RU" dirty="0"/>
              <a:t>Эта презентация будет обновлена для М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96956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B8FAAA-8856-4562-DF32-255B0F23A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1"/>
            <a:ext cx="10991850" cy="1123949"/>
          </a:xfrm>
        </p:spPr>
        <p:txBody>
          <a:bodyPr/>
          <a:lstStyle/>
          <a:p>
            <a:r>
              <a:rPr lang="ru-RU" sz="3200" b="1" dirty="0"/>
              <a:t>Увеличение торговли товарами за счет цен на энергоносители...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AB2C32-5E3B-E546-E6B9-F53E8C2EEE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4899" y="1246195"/>
            <a:ext cx="5604883" cy="5292257"/>
          </a:xfrm>
        </p:spPr>
        <p:txBody>
          <a:bodyPr>
            <a:noAutofit/>
          </a:bodyPr>
          <a:lstStyle/>
          <a:p>
            <a:r>
              <a:rPr lang="ru-RU" dirty="0"/>
              <a:t>В 2022 году многие во многих странах региона были зафиксированы рекордно высокие значения товарного экспорта и импорта</a:t>
            </a:r>
          </a:p>
          <a:p>
            <a:r>
              <a:rPr lang="ru-RU" dirty="0"/>
              <a:t>В 2023 году рост в основном продолжится</a:t>
            </a:r>
          </a:p>
          <a:p>
            <a:r>
              <a:rPr lang="ru-RU" dirty="0"/>
              <a:t>Резкое увеличение объемов торговли энергоносителями, обусловленное ростом мировых цен (64% роста в 2022 году), с последующим некоторым снижением в 2023 году</a:t>
            </a:r>
            <a:endParaRPr lang="en-US" dirty="0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id="{E6A15967-0B58-48E3-1F92-95B2DB6AD3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7600" y="1130300"/>
            <a:ext cx="5994400" cy="5727700"/>
          </a:xfrm>
          <a:prstGeom prst="rect">
            <a:avLst/>
          </a:prstGeom>
          <a:solidFill>
            <a:schemeClr val="tx2"/>
          </a:solidFill>
        </p:spPr>
      </p:pic>
    </p:spTree>
    <p:extLst>
      <p:ext uri="{BB962C8B-B14F-4D97-AF65-F5344CB8AC3E}">
        <p14:creationId xmlns:p14="http://schemas.microsoft.com/office/powerpoint/2010/main" val="32372901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B8FAAA-8856-4562-DF32-255B0F23A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120" y="1"/>
            <a:ext cx="11866880" cy="1037491"/>
          </a:xfrm>
        </p:spPr>
        <p:txBody>
          <a:bodyPr>
            <a:normAutofit/>
          </a:bodyPr>
          <a:lstStyle/>
          <a:p>
            <a:r>
              <a:rPr lang="ru-RU" sz="4000" b="1" dirty="0"/>
              <a:t>...и экспорт в Российскую Федерацию.</a:t>
            </a:r>
            <a:endParaRPr lang="en-US" sz="40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AB2C32-5E3B-E546-E6B9-F53E8C2EEE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5121" y="1184132"/>
            <a:ext cx="11621074" cy="4825683"/>
          </a:xfrm>
        </p:spPr>
        <p:txBody>
          <a:bodyPr>
            <a:normAutofit/>
          </a:bodyPr>
          <a:lstStyle/>
          <a:p>
            <a:r>
              <a:rPr lang="ru-RU" dirty="0"/>
              <a:t>Значительное увеличение экспорта в Россию и импорта (в основном энергоносителей) из России</a:t>
            </a:r>
          </a:p>
          <a:p>
            <a:r>
              <a:rPr lang="ru-RU" dirty="0"/>
              <a:t>Рост экспорта в связи с добровольным уходом международных компаний с российского рынка и санкциями – появление сопутствующих рыночных возможностей, особенно для стран КЦА </a:t>
            </a:r>
          </a:p>
          <a:p>
            <a:r>
              <a:rPr lang="ru-RU" dirty="0"/>
              <a:t>Снижение импорта машинного и прочего оборудования из России</a:t>
            </a:r>
            <a:endParaRPr lang="en-US" dirty="0"/>
          </a:p>
        </p:txBody>
      </p:sp>
      <p:pic>
        <p:nvPicPr>
          <p:cNvPr id="4" name="Рисунок 2">
            <a:extLst>
              <a:ext uri="{FF2B5EF4-FFF2-40B4-BE49-F238E27FC236}">
                <a16:creationId xmlns:a16="http://schemas.microsoft.com/office/drawing/2014/main" id="{D10AD048-B48C-A29B-7914-AFC3CED84C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58" y="4027927"/>
            <a:ext cx="12192000" cy="283007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003708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B8FAAA-8856-4562-DF32-255B0F23A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120" y="1"/>
            <a:ext cx="11866880" cy="1037491"/>
          </a:xfrm>
        </p:spPr>
        <p:txBody>
          <a:bodyPr>
            <a:normAutofit/>
          </a:bodyPr>
          <a:lstStyle/>
          <a:p>
            <a:r>
              <a:rPr lang="ru-RU" sz="4000" b="1" dirty="0"/>
              <a:t>Компоненты роста экспорта</a:t>
            </a:r>
            <a:endParaRPr lang="en-US" sz="40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AB2C32-5E3B-E546-E6B9-F53E8C2EEE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8642" y="1193964"/>
            <a:ext cx="12073357" cy="4825683"/>
          </a:xfrm>
        </p:spPr>
        <p:txBody>
          <a:bodyPr>
            <a:normAutofit/>
          </a:bodyPr>
          <a:lstStyle/>
          <a:p>
            <a:r>
              <a:rPr lang="ru-RU" sz="2800" dirty="0"/>
              <a:t>Расширение экспорта, утрата экспорта и реэкспорт в Россию</a:t>
            </a:r>
          </a:p>
          <a:p>
            <a:r>
              <a:rPr lang="ru-RU" sz="2800" dirty="0"/>
              <a:t>Основные бенефициары – Казахстан, Кыргызская Республика и Узбекистан</a:t>
            </a:r>
          </a:p>
          <a:p>
            <a:r>
              <a:rPr lang="ru-RU" sz="2800" dirty="0"/>
              <a:t>Расширение экспорта в традиционных (ре)экспортных секторах, а также в относительно новых секторах, например, автомобили из Казахстана</a:t>
            </a:r>
          </a:p>
          <a:p>
            <a:r>
              <a:rPr lang="ru-RU" sz="2800" dirty="0"/>
              <a:t>Утрата экспорта, вызванная санкциями в отношении российских контрагентов</a:t>
            </a:r>
            <a:endParaRPr lang="en-US" sz="2800" dirty="0"/>
          </a:p>
          <a:p>
            <a:endParaRPr lang="en-US" dirty="0"/>
          </a:p>
        </p:txBody>
      </p:sp>
      <p:pic>
        <p:nvPicPr>
          <p:cNvPr id="5" name="Рисунок 13">
            <a:extLst>
              <a:ext uri="{FF2B5EF4-FFF2-40B4-BE49-F238E27FC236}">
                <a16:creationId xmlns:a16="http://schemas.microsoft.com/office/drawing/2014/main" id="{AD0464AF-05A6-47E2-1D22-1DB2D242CD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3762" y="4334471"/>
            <a:ext cx="7698237" cy="252352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Рисунок 2">
            <a:extLst>
              <a:ext uri="{FF2B5EF4-FFF2-40B4-BE49-F238E27FC236}">
                <a16:creationId xmlns:a16="http://schemas.microsoft.com/office/drawing/2014/main" id="{EDFFBFAB-677C-D82A-A3EA-26DCAFF4B4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922" y="4334471"/>
            <a:ext cx="4393840" cy="252352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836E401-20F0-1256-C3AC-F09E85DE010C}"/>
              </a:ext>
            </a:extLst>
          </p:cNvPr>
          <p:cNvSpPr txBox="1"/>
          <p:nvPr/>
        </p:nvSpPr>
        <p:spPr>
          <a:xfrm>
            <a:off x="4829470" y="3794570"/>
            <a:ext cx="33695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асширение экспорт по типам продукции, КЦА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2 г. – 6 м. 2023г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1D4A1BF-2964-D057-844F-92487D71A18F}"/>
              </a:ext>
            </a:extLst>
          </p:cNvPr>
          <p:cNvSpPr txBox="1"/>
          <p:nvPr/>
        </p:nvSpPr>
        <p:spPr>
          <a:xfrm>
            <a:off x="8825737" y="3833688"/>
            <a:ext cx="3010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Утрата  экспорт по типам продукции, КЦА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2 г. – 6 м. 2023г.</a:t>
            </a:r>
          </a:p>
        </p:txBody>
      </p:sp>
    </p:spTree>
    <p:extLst>
      <p:ext uri="{BB962C8B-B14F-4D97-AF65-F5344CB8AC3E}">
        <p14:creationId xmlns:p14="http://schemas.microsoft.com/office/powerpoint/2010/main" val="11949165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B8FAAA-8856-4562-DF32-255B0F23A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120" y="78659"/>
            <a:ext cx="11866880" cy="1037491"/>
          </a:xfrm>
        </p:spPr>
        <p:txBody>
          <a:bodyPr>
            <a:normAutofit/>
          </a:bodyPr>
          <a:lstStyle/>
          <a:p>
            <a:r>
              <a:rPr lang="ru-RU" sz="4400" b="1" dirty="0"/>
              <a:t>Реэкспорт</a:t>
            </a:r>
            <a:endParaRPr lang="en-US" sz="44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AB2C32-5E3B-E546-E6B9-F53E8C2EEE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530" y="1137919"/>
            <a:ext cx="12125470" cy="482568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dirty="0"/>
              <a:t>Реэкспорт в Россию очень велик и растет, как в официальной отчетности, так и в косвенном выражении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dirty="0"/>
              <a:t>Те же основные участники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dirty="0"/>
              <a:t>Основные реэкспортируемые товары – машинное и прочее оборудование, текстиль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dirty="0"/>
              <a:t>Реэкспорт, а не расширение экспорта, доминирует в реагировании на рыночные возможности – рост экспорта ограничивается предложением, а не спросом</a:t>
            </a:r>
            <a:endParaRPr lang="en-US" dirty="0"/>
          </a:p>
        </p:txBody>
      </p:sp>
      <p:pic>
        <p:nvPicPr>
          <p:cNvPr id="4" name="Рисунок 1">
            <a:extLst>
              <a:ext uri="{FF2B5EF4-FFF2-40B4-BE49-F238E27FC236}">
                <a16:creationId xmlns:a16="http://schemas.microsoft.com/office/drawing/2014/main" id="{66212095-C75B-8C23-FA52-06E9A05D8C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547092"/>
            <a:ext cx="12192000" cy="260439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606B0CB-CF3D-CB6F-DAB2-6F04A9E6C563}"/>
              </a:ext>
            </a:extLst>
          </p:cNvPr>
          <p:cNvSpPr txBox="1"/>
          <p:nvPr/>
        </p:nvSpPr>
        <p:spPr>
          <a:xfrm>
            <a:off x="612073" y="4573197"/>
            <a:ext cx="1686744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экспорт в Россию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2 г. – 6 м. 2023г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268BB4-28D7-3908-7143-6B618D7EEA88}"/>
              </a:ext>
            </a:extLst>
          </p:cNvPr>
          <p:cNvSpPr txBox="1"/>
          <p:nvPr/>
        </p:nvSpPr>
        <p:spPr>
          <a:xfrm>
            <a:off x="4797842" y="4588587"/>
            <a:ext cx="26628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экспорт по типам продукции, КЦА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2 г. – 6 м. 2023г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0B0DAD8-8AD1-9642-B94B-CE6041A57CA3}"/>
              </a:ext>
            </a:extLst>
          </p:cNvPr>
          <p:cNvSpPr txBox="1"/>
          <p:nvPr/>
        </p:nvSpPr>
        <p:spPr>
          <a:xfrm>
            <a:off x="8180471" y="4557011"/>
            <a:ext cx="25560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экспорт по сравнению с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асширением экспорта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2 г. – 6 м. 2023г.</a:t>
            </a:r>
          </a:p>
        </p:txBody>
      </p:sp>
    </p:spTree>
    <p:extLst>
      <p:ext uri="{BB962C8B-B14F-4D97-AF65-F5344CB8AC3E}">
        <p14:creationId xmlns:p14="http://schemas.microsoft.com/office/powerpoint/2010/main" val="33188843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B8FAAA-8856-4562-DF32-255B0F23A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120" y="1"/>
            <a:ext cx="11866880" cy="1037491"/>
          </a:xfrm>
        </p:spPr>
        <p:txBody>
          <a:bodyPr>
            <a:normAutofit/>
          </a:bodyPr>
          <a:lstStyle/>
          <a:p>
            <a:r>
              <a:rPr lang="ru-RU" sz="4400" b="1" dirty="0"/>
              <a:t>Пересмотр транзитных маршрутов</a:t>
            </a:r>
            <a:endParaRPr lang="en-US" sz="44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AB2C32-5E3B-E546-E6B9-F53E8C2EEE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8" y="1198876"/>
            <a:ext cx="12077591" cy="5419638"/>
          </a:xfrm>
        </p:spPr>
        <p:txBody>
          <a:bodyPr vert="horz" lIns="91440" tIns="45720" rIns="91440" bIns="45720" rtlCol="0" anchor="t">
            <a:normAutofit fontScale="85000" lnSpcReduction="20000"/>
          </a:bodyPr>
          <a:lstStyle/>
          <a:p>
            <a:r>
              <a:rPr lang="ru-RU" sz="3000" dirty="0"/>
              <a:t>Война и санкции создали многочисленные риски для маршрутов транзита КЦА через Россию</a:t>
            </a:r>
          </a:p>
          <a:p>
            <a:r>
              <a:rPr lang="ru-RU" sz="3000" dirty="0"/>
              <a:t>Два типа транзита: (</a:t>
            </a:r>
            <a:r>
              <a:rPr lang="en-US" sz="3000" dirty="0" err="1"/>
              <a:t>i</a:t>
            </a:r>
            <a:r>
              <a:rPr lang="en-US" sz="3000" dirty="0"/>
              <a:t>) </a:t>
            </a:r>
            <a:r>
              <a:rPr lang="ru-RU" sz="3000" dirty="0"/>
              <a:t>из КНР в Европу и (</a:t>
            </a:r>
            <a:r>
              <a:rPr lang="en-US" sz="3000" dirty="0"/>
              <a:t>ii) </a:t>
            </a:r>
            <a:r>
              <a:rPr lang="ru-RU" sz="3000" dirty="0"/>
              <a:t>из Центральной Азии в Европу и другие страны.</a:t>
            </a:r>
          </a:p>
          <a:p>
            <a:r>
              <a:rPr lang="ru-RU" sz="3000" dirty="0"/>
              <a:t>У первого вида транзита есть надежная альтернатива (морские перевозки вернулись в нормальное русло после пандемии </a:t>
            </a:r>
            <a:r>
              <a:rPr lang="en-US" sz="3000" dirty="0"/>
              <a:t>COVID-19); </a:t>
            </a:r>
            <a:r>
              <a:rPr lang="ru-RU" sz="3000" dirty="0"/>
              <a:t>у второго вида транзита альтернатив меньше</a:t>
            </a:r>
          </a:p>
          <a:p>
            <a:r>
              <a:rPr lang="ru-RU" sz="3000" dirty="0"/>
              <a:t>Развитие Среднего коридора как один из возможных ответов</a:t>
            </a:r>
          </a:p>
          <a:p>
            <a:r>
              <a:rPr lang="ru-RU" sz="3000" dirty="0"/>
              <a:t>Вызовы для Среднего коридора: инфраструктура, организация логистики, изменение климата</a:t>
            </a:r>
          </a:p>
          <a:p>
            <a:r>
              <a:rPr lang="ru-RU" sz="3000" dirty="0"/>
              <a:t>Проводимое АБР исследование транзитных потоков в регионе: как они меняются, каковы факторы развития инфраструктуры и препятствия на примере порта Актау</a:t>
            </a:r>
          </a:p>
          <a:p>
            <a:r>
              <a:rPr lang="ru-RU" sz="3000" dirty="0"/>
              <a:t>Развитие всех новых коридоров ЦАРЭС как экономических коридоров с привлечением частных инвестиций в агробизнес, туризм, транспорт и др.</a:t>
            </a:r>
          </a:p>
          <a:p>
            <a:r>
              <a:rPr lang="ru-RU" sz="3000" dirty="0"/>
              <a:t>Необходимость в стратегии развития Среднего коридора</a:t>
            </a:r>
            <a:endParaRPr lang="en-US" sz="30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63559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B8FAAA-8856-4562-DF32-255B0F23A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149" y="1"/>
            <a:ext cx="10915651" cy="1125414"/>
          </a:xfrm>
        </p:spPr>
        <p:txBody>
          <a:bodyPr>
            <a:normAutofit/>
          </a:bodyPr>
          <a:lstStyle/>
          <a:p>
            <a:r>
              <a:rPr lang="ru-RU" sz="4400" b="1" dirty="0"/>
              <a:t>Краткое подведение итогов</a:t>
            </a:r>
            <a:endParaRPr lang="en-US" sz="44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AB2C32-5E3B-E546-E6B9-F53E8C2EEE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7203" y="1311519"/>
            <a:ext cx="11817594" cy="533400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z="2500" dirty="0"/>
              <a:t>Резкий рост внешней торговли экономик ЦАРЭС в 2022 году и в первой половине 2023 г. в связи с </a:t>
            </a:r>
            <a:r>
              <a:rPr lang="ru-RU" sz="2400" dirty="0"/>
              <a:t>войной в Украине</a:t>
            </a:r>
            <a:r>
              <a:rPr lang="ru-RU" sz="2500" dirty="0"/>
              <a:t> и постпандемическим восстановлением</a:t>
            </a:r>
          </a:p>
          <a:p>
            <a:r>
              <a:rPr lang="ru-RU" sz="2400" dirty="0"/>
              <a:t>Шоки</a:t>
            </a:r>
            <a:r>
              <a:rPr lang="ru-RU" sz="2500" dirty="0"/>
              <a:t> в регионе привели к нарушению цепочек поставок, но также создали (краткосрочные?) торговые возможности для стран Кавказа и Центральной Азии</a:t>
            </a:r>
          </a:p>
          <a:p>
            <a:r>
              <a:rPr lang="ru-RU" sz="2500" dirty="0"/>
              <a:t>Рост реэкспорта, а не расширение торговли, был основной реакцией на эти возможности</a:t>
            </a:r>
          </a:p>
          <a:p>
            <a:r>
              <a:rPr lang="ru-RU" sz="2500" dirty="0"/>
              <a:t>Долгосрочные основы роста — возможность выхода на внешние рынки, доступ к передовым технологиям, рабочие места для трудовых мигрантов и т.д. — оказались под вопросом</a:t>
            </a:r>
          </a:p>
          <a:p>
            <a:r>
              <a:rPr lang="ru-RU" sz="2500" dirty="0"/>
              <a:t>Страны ЦАРЭС и партнеры по развитию в настоящее время рассматривают альтернативные варианты транзита важнейших экспортных и импортных товаров</a:t>
            </a:r>
          </a:p>
          <a:p>
            <a:r>
              <a:rPr lang="ru-RU" sz="2700" b="1" dirty="0">
                <a:solidFill>
                  <a:srgbClr val="FF0000"/>
                </a:solidFill>
              </a:rPr>
              <a:t>Каким образом усиленное региональное сотрудничество в рамках ЦАРЭС может помочь в решении этих проблем? </a:t>
            </a:r>
            <a:endParaRPr lang="en-US" sz="27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0814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3AEA53B6-2983-4E9A-BE3E-539DC9047BC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983" y="379151"/>
            <a:ext cx="919498" cy="91949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23EE729-96C6-41EA-929D-7155E0878D0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6809" y="221688"/>
            <a:ext cx="1076961" cy="1076961"/>
          </a:xfrm>
          <a:prstGeom prst="rect">
            <a:avLst/>
          </a:prstGeom>
        </p:spPr>
      </p:pic>
      <p:sp>
        <p:nvSpPr>
          <p:cNvPr id="3" name="Rounded Rectangle 5">
            <a:extLst>
              <a:ext uri="{FF2B5EF4-FFF2-40B4-BE49-F238E27FC236}">
                <a16:creationId xmlns:a16="http://schemas.microsoft.com/office/drawing/2014/main" id="{45FC0D34-2E36-42A2-AE9E-BD858C5199A1}"/>
              </a:ext>
            </a:extLst>
          </p:cNvPr>
          <p:cNvSpPr/>
          <p:nvPr/>
        </p:nvSpPr>
        <p:spPr>
          <a:xfrm>
            <a:off x="352983" y="2208188"/>
            <a:ext cx="5426096" cy="1759292"/>
          </a:xfrm>
          <a:prstGeom prst="round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Виртуальный туристический </a:t>
            </a:r>
            <a:r>
              <a:rPr kumimoji="0" lang="ru" sz="3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портал ЦАРЭС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www.visitsilkroad.or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" sz="4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2E3AF2F-209D-9770-3078-3A75C4E0015C}"/>
              </a:ext>
            </a:extLst>
          </p:cNvPr>
          <p:cNvSpPr txBox="1"/>
          <p:nvPr/>
        </p:nvSpPr>
        <p:spPr>
          <a:xfrm>
            <a:off x="915115" y="4139408"/>
            <a:ext cx="415968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Заседание национальных координаторов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18 октября 2023 года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F6A20A-FBBC-A14F-5A29-10ED5D8D96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2337" y="119083"/>
            <a:ext cx="7772400" cy="651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9789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395956E-4915-4670-965D-4BB44F4FA470}"/>
              </a:ext>
            </a:extLst>
          </p:cNvPr>
          <p:cNvSpPr txBox="1"/>
          <p:nvPr/>
        </p:nvSpPr>
        <p:spPr>
          <a:xfrm>
            <a:off x="3449755" y="129861"/>
            <a:ext cx="54693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oboto"/>
                <a:ea typeface="+mn-ea"/>
                <a:cs typeface="Arial" panose="020B0604020202020204" pitchFamily="34" charset="0"/>
              </a:rPr>
              <a:t>Стратегия развития туризма ЦАРЭС-2030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F1944AE-26CE-4072-ADD8-CE0E8B7A43C6}"/>
              </a:ext>
            </a:extLst>
          </p:cNvPr>
          <p:cNvPicPr/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314733" y="1337676"/>
            <a:ext cx="2319609" cy="322546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747374AD-42BA-4EA1-9370-71B77ECBE858}"/>
              </a:ext>
            </a:extLst>
          </p:cNvPr>
          <p:cNvGrpSpPr/>
          <p:nvPr/>
        </p:nvGrpSpPr>
        <p:grpSpPr>
          <a:xfrm>
            <a:off x="240029" y="902970"/>
            <a:ext cx="8679043" cy="4156711"/>
            <a:chOff x="1387460" y="914524"/>
            <a:chExt cx="9306676" cy="6115595"/>
          </a:xfrm>
        </p:grpSpPr>
        <p:sp>
          <p:nvSpPr>
            <p:cNvPr id="5" name="Triangle 41">
              <a:extLst>
                <a:ext uri="{FF2B5EF4-FFF2-40B4-BE49-F238E27FC236}">
                  <a16:creationId xmlns:a16="http://schemas.microsoft.com/office/drawing/2014/main" id="{292100B5-7FD0-45DB-8F77-652F602B7A9A}"/>
                </a:ext>
              </a:extLst>
            </p:cNvPr>
            <p:cNvSpPr/>
            <p:nvPr/>
          </p:nvSpPr>
          <p:spPr>
            <a:xfrm>
              <a:off x="1553728" y="914524"/>
              <a:ext cx="9084545" cy="1279131"/>
            </a:xfrm>
            <a:prstGeom prst="triangle">
              <a:avLst/>
            </a:prstGeom>
            <a:solidFill>
              <a:srgbClr val="0091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1F3F715-D850-43D6-8395-114FF16D3D56}"/>
                </a:ext>
              </a:extLst>
            </p:cNvPr>
            <p:cNvGrpSpPr/>
            <p:nvPr/>
          </p:nvGrpSpPr>
          <p:grpSpPr>
            <a:xfrm>
              <a:off x="3491016" y="2148745"/>
              <a:ext cx="1722850" cy="3820193"/>
              <a:chOff x="1035848" y="2188140"/>
              <a:chExt cx="1230869" cy="2729290"/>
            </a:xfrm>
          </p:grpSpPr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162B71DD-167C-4FB5-8749-0D07F3DADA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76814" y="2875798"/>
                <a:ext cx="717923" cy="1555974"/>
              </a:xfrm>
              <a:prstGeom prst="rect">
                <a:avLst/>
              </a:prstGeom>
            </p:spPr>
          </p:pic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3A2637CB-3917-4D16-B705-688FE760FC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35848" y="2188140"/>
                <a:ext cx="1230869" cy="757458"/>
              </a:xfrm>
              <a:prstGeom prst="rect">
                <a:avLst/>
              </a:prstGeom>
            </p:spPr>
          </p:pic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95163BDD-8954-48DB-A292-955439EB3C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V="1">
                <a:off x="1035848" y="4261184"/>
                <a:ext cx="1230869" cy="656246"/>
              </a:xfrm>
              <a:prstGeom prst="rect">
                <a:avLst/>
              </a:prstGeom>
            </p:spPr>
          </p:pic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44DCFD5-4C54-4561-90D0-4AFEE3ACF0C7}"/>
                </a:ext>
              </a:extLst>
            </p:cNvPr>
            <p:cNvGrpSpPr/>
            <p:nvPr/>
          </p:nvGrpSpPr>
          <p:grpSpPr>
            <a:xfrm>
              <a:off x="5397307" y="2148744"/>
              <a:ext cx="1722850" cy="3820195"/>
              <a:chOff x="1035848" y="2188139"/>
              <a:chExt cx="1230869" cy="2729291"/>
            </a:xfrm>
          </p:grpSpPr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23E3F0FC-2D44-4695-A4F1-809EA0D99C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76814" y="2875798"/>
                <a:ext cx="717923" cy="1726925"/>
              </a:xfrm>
              <a:prstGeom prst="rect">
                <a:avLst/>
              </a:prstGeom>
            </p:spPr>
          </p:pic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CB3133E9-3BE7-47A4-9B2D-9BD333F0BD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35848" y="2188139"/>
                <a:ext cx="1230869" cy="757458"/>
              </a:xfrm>
              <a:prstGeom prst="rect">
                <a:avLst/>
              </a:prstGeom>
            </p:spPr>
          </p:pic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63279EA3-CA12-4E9C-8054-E39CE2D4DF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V="1">
                <a:off x="1035848" y="4261184"/>
                <a:ext cx="1230869" cy="656246"/>
              </a:xfrm>
              <a:prstGeom prst="rect">
                <a:avLst/>
              </a:prstGeom>
            </p:spPr>
          </p:pic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A1831F3-818F-49BB-9410-F32BBC3D1D42}"/>
                </a:ext>
              </a:extLst>
            </p:cNvPr>
            <p:cNvGrpSpPr/>
            <p:nvPr/>
          </p:nvGrpSpPr>
          <p:grpSpPr>
            <a:xfrm>
              <a:off x="7272602" y="2148745"/>
              <a:ext cx="1722850" cy="3820193"/>
              <a:chOff x="1035848" y="2188140"/>
              <a:chExt cx="1230869" cy="2729290"/>
            </a:xfrm>
          </p:grpSpPr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1C3758E8-2933-4ADE-A5A6-A9648A6FA5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76814" y="2875798"/>
                <a:ext cx="717923" cy="1555974"/>
              </a:xfrm>
              <a:prstGeom prst="rect">
                <a:avLst/>
              </a:prstGeom>
            </p:spPr>
          </p:pic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472A0BAD-DD74-440A-9F8F-BE96828609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35848" y="2188140"/>
                <a:ext cx="1230869" cy="757458"/>
              </a:xfrm>
              <a:prstGeom prst="rect">
                <a:avLst/>
              </a:prstGeom>
            </p:spPr>
          </p:pic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69F81E29-D5D0-4D41-ACD0-46DB5E3F99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V="1">
                <a:off x="1035848" y="4261184"/>
                <a:ext cx="1230869" cy="656246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77E6528-06D9-4F64-A733-4EE73FD377C3}"/>
                </a:ext>
              </a:extLst>
            </p:cNvPr>
            <p:cNvGrpSpPr/>
            <p:nvPr/>
          </p:nvGrpSpPr>
          <p:grpSpPr>
            <a:xfrm>
              <a:off x="8915422" y="2148745"/>
              <a:ext cx="1722850" cy="3820193"/>
              <a:chOff x="1035848" y="2188140"/>
              <a:chExt cx="1230869" cy="2729290"/>
            </a:xfrm>
          </p:grpSpPr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9F1B8C68-DA53-4490-BDAE-EFC010B185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76814" y="2875798"/>
                <a:ext cx="717923" cy="1555974"/>
              </a:xfrm>
              <a:prstGeom prst="rect">
                <a:avLst/>
              </a:prstGeom>
            </p:spPr>
          </p:pic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B4CB9DB1-D2F1-48C2-9D52-9D5239D4F5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35848" y="2188140"/>
                <a:ext cx="1230869" cy="757458"/>
              </a:xfrm>
              <a:prstGeom prst="rect">
                <a:avLst/>
              </a:prstGeom>
            </p:spPr>
          </p:pic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5E75A60C-5EC0-4B11-AC89-FBC5FDD021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V="1">
                <a:off x="1035848" y="4261184"/>
                <a:ext cx="1230869" cy="656246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4CB5C9D9-09AA-4E96-BAEC-AC6BE10AA93C}"/>
                </a:ext>
              </a:extLst>
            </p:cNvPr>
            <p:cNvGrpSpPr/>
            <p:nvPr/>
          </p:nvGrpSpPr>
          <p:grpSpPr>
            <a:xfrm>
              <a:off x="1553728" y="2148745"/>
              <a:ext cx="1722850" cy="3820193"/>
              <a:chOff x="1035848" y="2188140"/>
              <a:chExt cx="1230869" cy="2729290"/>
            </a:xfrm>
          </p:grpSpPr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E2D50676-8C39-4581-B788-5F785C9B9B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76814" y="2875798"/>
                <a:ext cx="717923" cy="1555974"/>
              </a:xfrm>
              <a:prstGeom prst="rect">
                <a:avLst/>
              </a:prstGeom>
            </p:spPr>
          </p:pic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4F172064-02B4-4E90-8E8A-D1C6B1AC1E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35848" y="2188140"/>
                <a:ext cx="1230869" cy="757458"/>
              </a:xfrm>
              <a:prstGeom prst="rect">
                <a:avLst/>
              </a:prstGeom>
            </p:spPr>
          </p:pic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F7BCBB20-CC87-4B97-8AF5-3DACB824CC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V="1">
                <a:off x="1035848" y="4261184"/>
                <a:ext cx="1230869" cy="656246"/>
              </a:xfrm>
              <a:prstGeom prst="rect">
                <a:avLst/>
              </a:prstGeom>
            </p:spPr>
          </p:pic>
        </p:grp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A9DD8AE-4246-42A6-B4D6-893B59C880F3}"/>
                </a:ext>
              </a:extLst>
            </p:cNvPr>
            <p:cNvSpPr/>
            <p:nvPr/>
          </p:nvSpPr>
          <p:spPr>
            <a:xfrm rot="16200000">
              <a:off x="851786" y="3857482"/>
              <a:ext cx="3053561" cy="5610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2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Roboto" panose="02000000000000000000"/>
                  <a:ea typeface="Times New Roman" panose="02020603050405020304" pitchFamily="18" charset="0"/>
                  <a:cs typeface="Arial" panose="020B0604020202020204" pitchFamily="34" charset="0"/>
                </a:rPr>
                <a:t>Связанность и </a:t>
              </a:r>
              <a:b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Roboto" panose="02000000000000000000"/>
                  <a:ea typeface="Times New Roman" panose="02020603050405020304" pitchFamily="18" charset="0"/>
                  <a:cs typeface="Arial" panose="020B0604020202020204" pitchFamily="34" charset="0"/>
                </a:rPr>
              </a:br>
              <a:r>
                <a:rPr kumimoji="0" lang="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Roboto" panose="02000000000000000000"/>
                  <a:ea typeface="Times New Roman" panose="02020603050405020304" pitchFamily="18" charset="0"/>
                  <a:cs typeface="Arial" panose="020B0604020202020204" pitchFamily="34" charset="0"/>
                </a:rPr>
                <a:t>инфраструктура</a:t>
              </a:r>
              <a:endParaRPr kumimoji="0" lang="x-none" sz="14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Roboto" panose="0200000000000000000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EE827BF-8AF4-4685-9D0E-3A048E4AC7D5}"/>
                </a:ext>
              </a:extLst>
            </p:cNvPr>
            <p:cNvSpPr/>
            <p:nvPr/>
          </p:nvSpPr>
          <p:spPr>
            <a:xfrm rot="16200000">
              <a:off x="3253664" y="3675349"/>
              <a:ext cx="2247054" cy="9348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2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Roboto" panose="02000000000000000000"/>
                  <a:ea typeface="+mn-ea"/>
                  <a:cs typeface="Arial" panose="020B0604020202020204" pitchFamily="34" charset="0"/>
                </a:rPr>
                <a:t>Качество </a:t>
              </a:r>
              <a:b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Roboto" panose="02000000000000000000"/>
                  <a:ea typeface="+mn-ea"/>
                  <a:cs typeface="Arial" panose="020B0604020202020204" pitchFamily="34" charset="0"/>
                </a:rPr>
              </a:br>
              <a:r>
                <a:rPr kumimoji="0" lang="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Roboto" panose="02000000000000000000"/>
                  <a:ea typeface="+mn-ea"/>
                  <a:cs typeface="Arial" panose="020B0604020202020204" pitchFamily="34" charset="0"/>
                </a:rPr>
                <a:t>и стандарты</a:t>
              </a:r>
              <a:endParaRPr kumimoji="0" lang="x-none" sz="1400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Roboto" panose="0200000000000000000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E2294BE-0748-46C8-A138-58C9198B64CC}"/>
                </a:ext>
              </a:extLst>
            </p:cNvPr>
            <p:cNvSpPr/>
            <p:nvPr/>
          </p:nvSpPr>
          <p:spPr>
            <a:xfrm rot="16200000">
              <a:off x="4813982" y="4046525"/>
              <a:ext cx="2727802" cy="3300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2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Roboto" panose="02000000000000000000"/>
                  <a:ea typeface="+mn-ea"/>
                  <a:cs typeface="Arial" panose="020B0604020202020204" pitchFamily="34" charset="0"/>
                </a:rPr>
                <a:t>Развитие навыков</a:t>
              </a:r>
              <a:endParaRPr kumimoji="0" lang="x-none" sz="1400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Roboto" panose="0200000000000000000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F02E2A6-07FE-4481-9B2E-5E93EC2F691A}"/>
                </a:ext>
              </a:extLst>
            </p:cNvPr>
            <p:cNvSpPr/>
            <p:nvPr/>
          </p:nvSpPr>
          <p:spPr>
            <a:xfrm rot="16200000">
              <a:off x="7288292" y="3800000"/>
              <a:ext cx="1691467" cy="5610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2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Roboto" panose="02000000000000000000"/>
                  <a:ea typeface="+mn-ea"/>
                  <a:cs typeface="Arial" panose="020B0604020202020204" pitchFamily="34" charset="0"/>
                </a:rPr>
                <a:t>Маркетинг </a:t>
              </a:r>
              <a:b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Roboto" panose="02000000000000000000"/>
                  <a:ea typeface="+mn-ea"/>
                  <a:cs typeface="Arial" panose="020B0604020202020204" pitchFamily="34" charset="0"/>
                </a:rPr>
              </a:br>
              <a:r>
                <a:rPr kumimoji="0" lang="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Roboto" panose="02000000000000000000"/>
                  <a:ea typeface="+mn-ea"/>
                  <a:cs typeface="Arial" panose="020B0604020202020204" pitchFamily="34" charset="0"/>
                </a:rPr>
                <a:t>и брендинг</a:t>
              </a:r>
              <a:endParaRPr kumimoji="0" lang="x-none" sz="1400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Roboto" panose="0200000000000000000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8E81F50-52EE-47C1-9C57-B7033300D4F5}"/>
                </a:ext>
              </a:extLst>
            </p:cNvPr>
            <p:cNvSpPr/>
            <p:nvPr/>
          </p:nvSpPr>
          <p:spPr>
            <a:xfrm rot="16200000">
              <a:off x="8972388" y="3849143"/>
              <a:ext cx="1608921" cy="5610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2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Roboto" panose="02000000000000000000"/>
                  <a:ea typeface="+mn-ea"/>
                  <a:cs typeface="Arial" panose="020B0604020202020204" pitchFamily="34" charset="0"/>
                </a:rPr>
                <a:t>Рыночная </a:t>
              </a:r>
              <a:b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Roboto" panose="02000000000000000000"/>
                  <a:ea typeface="+mn-ea"/>
                  <a:cs typeface="Arial" panose="020B0604020202020204" pitchFamily="34" charset="0"/>
                </a:rPr>
              </a:br>
              <a:r>
                <a:rPr kumimoji="0" lang="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Roboto" panose="02000000000000000000"/>
                  <a:ea typeface="+mn-ea"/>
                  <a:cs typeface="Arial" panose="020B0604020202020204" pitchFamily="34" charset="0"/>
                </a:rPr>
                <a:t>аналитика</a:t>
              </a:r>
              <a:endParaRPr kumimoji="0" lang="x-none" sz="1400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Roboto" panose="0200000000000000000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8F17F1B-F011-418B-894C-A1F49D3860FB}"/>
                </a:ext>
              </a:extLst>
            </p:cNvPr>
            <p:cNvSpPr/>
            <p:nvPr/>
          </p:nvSpPr>
          <p:spPr>
            <a:xfrm>
              <a:off x="3894035" y="1530657"/>
              <a:ext cx="4471615" cy="51105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anose="02000000000000000000"/>
                  <a:ea typeface="Times New Roman" panose="02020603050405020304" pitchFamily="18" charset="0"/>
                  <a:cs typeface="Arial" panose="020B0604020202020204" pitchFamily="34" charset="0"/>
                </a:rPr>
                <a:t>Институты и управление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Rounded Rectangle 42">
              <a:extLst>
                <a:ext uri="{FF2B5EF4-FFF2-40B4-BE49-F238E27FC236}">
                  <a16:creationId xmlns:a16="http://schemas.microsoft.com/office/drawing/2014/main" id="{EBB71580-06F1-4C3F-9D1C-CFD0CFFA530D}"/>
                </a:ext>
              </a:extLst>
            </p:cNvPr>
            <p:cNvSpPr/>
            <p:nvPr/>
          </p:nvSpPr>
          <p:spPr>
            <a:xfrm>
              <a:off x="1553728" y="2148745"/>
              <a:ext cx="9084544" cy="155377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Rounded Rectangle 43">
              <a:extLst>
                <a:ext uri="{FF2B5EF4-FFF2-40B4-BE49-F238E27FC236}">
                  <a16:creationId xmlns:a16="http://schemas.microsoft.com/office/drawing/2014/main" id="{3BD44BB5-4467-4DBB-BB98-02C4229F1B4B}"/>
                </a:ext>
              </a:extLst>
            </p:cNvPr>
            <p:cNvSpPr/>
            <p:nvPr/>
          </p:nvSpPr>
          <p:spPr>
            <a:xfrm>
              <a:off x="1418455" y="5930723"/>
              <a:ext cx="9219819" cy="1099396"/>
            </a:xfrm>
            <a:prstGeom prst="roundRect">
              <a:avLst/>
            </a:prstGeom>
            <a:solidFill>
              <a:srgbClr val="0091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3FFEF12-7BAA-40C8-841A-34275B4F326C}"/>
                </a:ext>
              </a:extLst>
            </p:cNvPr>
            <p:cNvSpPr/>
            <p:nvPr/>
          </p:nvSpPr>
          <p:spPr>
            <a:xfrm>
              <a:off x="1474317" y="5956899"/>
              <a:ext cx="9219819" cy="107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2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anose="02000000000000000000"/>
                  <a:ea typeface="Times New Roman" panose="02020603050405020304" pitchFamily="18" charset="0"/>
                  <a:cs typeface="Arial" panose="020B0604020202020204" pitchFamily="34" charset="0"/>
                </a:rPr>
                <a:t>Сквозные темы: здравоохранение, охрана и безопасность, цифровизация, гендер, экологическая устойчивость, участие частного сектора, универсальный доступ</a:t>
              </a:r>
              <a:endParaRPr kumimoji="0" lang="x-none" sz="12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0" name="Rounded Rectangle 45">
              <a:extLst>
                <a:ext uri="{FF2B5EF4-FFF2-40B4-BE49-F238E27FC236}">
                  <a16:creationId xmlns:a16="http://schemas.microsoft.com/office/drawing/2014/main" id="{08EF2B02-2FA0-4BE7-82A7-8261326B63AE}"/>
                </a:ext>
              </a:extLst>
            </p:cNvPr>
            <p:cNvSpPr/>
            <p:nvPr/>
          </p:nvSpPr>
          <p:spPr>
            <a:xfrm>
              <a:off x="1387460" y="5790847"/>
              <a:ext cx="9250812" cy="152629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7" name="Oval 36">
            <a:extLst>
              <a:ext uri="{FF2B5EF4-FFF2-40B4-BE49-F238E27FC236}">
                <a16:creationId xmlns:a16="http://schemas.microsoft.com/office/drawing/2014/main" id="{59F66E4B-D114-4016-84BD-8DF9072E8C6A}"/>
              </a:ext>
            </a:extLst>
          </p:cNvPr>
          <p:cNvSpPr/>
          <p:nvPr/>
        </p:nvSpPr>
        <p:spPr>
          <a:xfrm>
            <a:off x="6061041" y="2066118"/>
            <a:ext cx="1064130" cy="1932589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C59722C0-D2F4-4BAD-AB9A-68EABAC16C34}"/>
              </a:ext>
            </a:extLst>
          </p:cNvPr>
          <p:cNvCxnSpPr>
            <a:stCxn id="37" idx="4"/>
          </p:cNvCxnSpPr>
          <p:nvPr/>
        </p:nvCxnSpPr>
        <p:spPr>
          <a:xfrm>
            <a:off x="6593106" y="3998707"/>
            <a:ext cx="0" cy="107396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49CF5EB2-7572-4601-A1B3-DE28232AB88C}"/>
              </a:ext>
            </a:extLst>
          </p:cNvPr>
          <p:cNvSpPr txBox="1"/>
          <p:nvPr/>
        </p:nvSpPr>
        <p:spPr>
          <a:xfrm>
            <a:off x="0" y="5100905"/>
            <a:ext cx="12001500" cy="147732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00050" marR="0" lvl="0" indent="-400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BBA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" sz="2000" b="0" i="0" u="none" strike="noStrike" kern="1200" cap="none" spc="0" normalizeH="0" baseline="0" noProof="0" dirty="0">
                <a:ln>
                  <a:noFill/>
                </a:ln>
                <a:solidFill>
                  <a:srgbClr val="566367">
                    <a:lumMod val="75000"/>
                  </a:srgbClr>
                </a:solidFill>
                <a:effectLst/>
                <a:uLnTx/>
                <a:uFillTx/>
                <a:latin typeface="Roboto" panose="02000000000000000000"/>
                <a:ea typeface="+mn-ea"/>
                <a:cs typeface="Arial" panose="020B0604020202020204" pitchFamily="34" charset="0"/>
              </a:rPr>
              <a:t>Маркетинговые стратегии и инициативы по укреплению имиджа стран как безопасных туристических дестинаций;</a:t>
            </a:r>
          </a:p>
          <a:p>
            <a:pPr marL="400050" marR="0" lvl="0" indent="-400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BBA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" sz="20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Создание общего бренда «</a:t>
            </a:r>
            <a:r>
              <a:rPr kumimoji="0" lang="ru" sz="2000" b="1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Visit Silk Road</a:t>
            </a:r>
            <a:r>
              <a:rPr kumimoji="0" lang="ru" sz="20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» посредством развития </a:t>
            </a:r>
            <a:r>
              <a:rPr kumimoji="0" lang="ru" sz="2000" b="1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туристического веб-портала ЦАРЭС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566367">
                  <a:lumMod val="75000"/>
                </a:srgbClr>
              </a:solidFill>
              <a:effectLst/>
              <a:uLnTx/>
              <a:uFillTx/>
              <a:latin typeface="Roboto" panose="0200000000000000000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80622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120A2F6-D33F-D846-BA6B-92C4DEAE819F}"/>
              </a:ext>
            </a:extLst>
          </p:cNvPr>
          <p:cNvSpPr/>
          <p:nvPr/>
        </p:nvSpPr>
        <p:spPr>
          <a:xfrm>
            <a:off x="1422400" y="818725"/>
            <a:ext cx="88537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1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Arial" panose="020B0604020202020204" pitchFamily="34" charset="0"/>
              </a:rPr>
              <a:t>Портал предоставляет контент разным аудиториям, что создает синергию трафика и возможности для поддержания усточивости проекта.</a:t>
            </a:r>
            <a:endParaRPr kumimoji="0" lang="x-none" sz="1800" b="0" i="0" u="none" strike="noStrike" kern="1200" cap="none" spc="0" normalizeH="0" baseline="0" noProof="0" dirty="0">
              <a:ln>
                <a:noFill/>
              </a:ln>
              <a:solidFill>
                <a:srgbClr val="566367"/>
              </a:solidFill>
              <a:effectLst/>
              <a:uLnTx/>
              <a:uFillTx/>
              <a:latin typeface="Roboto" panose="02000000000000000000"/>
              <a:ea typeface="+mn-ea"/>
              <a:cs typeface="+mn-cs"/>
            </a:endParaRPr>
          </a:p>
        </p:txBody>
      </p:sp>
      <p:sp>
        <p:nvSpPr>
          <p:cNvPr id="29" name="CaixaDeTexto 12">
            <a:extLst>
              <a:ext uri="{FF2B5EF4-FFF2-40B4-BE49-F238E27FC236}">
                <a16:creationId xmlns:a16="http://schemas.microsoft.com/office/drawing/2014/main" id="{BE1EEFF4-23F8-7840-8A33-C484E948F2CE}"/>
              </a:ext>
            </a:extLst>
          </p:cNvPr>
          <p:cNvSpPr txBox="1"/>
          <p:nvPr/>
        </p:nvSpPr>
        <p:spPr>
          <a:xfrm>
            <a:off x="1899783" y="1524915"/>
            <a:ext cx="19319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1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Туристический контент</a:t>
            </a:r>
          </a:p>
        </p:txBody>
      </p:sp>
      <p:sp>
        <p:nvSpPr>
          <p:cNvPr id="39" name="CaixaDeTexto 17">
            <a:extLst>
              <a:ext uri="{FF2B5EF4-FFF2-40B4-BE49-F238E27FC236}">
                <a16:creationId xmlns:a16="http://schemas.microsoft.com/office/drawing/2014/main" id="{EA743B8B-643A-8B48-82D5-1315AC9861D8}"/>
              </a:ext>
            </a:extLst>
          </p:cNvPr>
          <p:cNvSpPr txBox="1"/>
          <p:nvPr/>
        </p:nvSpPr>
        <p:spPr>
          <a:xfrm>
            <a:off x="1709827" y="4216268"/>
            <a:ext cx="23118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1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Институциональный контент</a:t>
            </a:r>
          </a:p>
        </p:txBody>
      </p:sp>
      <p:sp>
        <p:nvSpPr>
          <p:cNvPr id="47" name="CaixaDeTexto 20">
            <a:extLst>
              <a:ext uri="{FF2B5EF4-FFF2-40B4-BE49-F238E27FC236}">
                <a16:creationId xmlns:a16="http://schemas.microsoft.com/office/drawing/2014/main" id="{936D2594-6C8A-ED4C-9C6D-4799A800D799}"/>
              </a:ext>
            </a:extLst>
          </p:cNvPr>
          <p:cNvSpPr txBox="1"/>
          <p:nvPr/>
        </p:nvSpPr>
        <p:spPr>
          <a:xfrm>
            <a:off x="8360279" y="1538925"/>
            <a:ext cx="19159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1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Контент для инвесторов</a:t>
            </a:r>
          </a:p>
        </p:txBody>
      </p:sp>
      <p:sp>
        <p:nvSpPr>
          <p:cNvPr id="51" name="CaixaDeTexto 24">
            <a:extLst>
              <a:ext uri="{FF2B5EF4-FFF2-40B4-BE49-F238E27FC236}">
                <a16:creationId xmlns:a16="http://schemas.microsoft.com/office/drawing/2014/main" id="{9300997C-69BF-194B-B4C5-B1729384011A}"/>
              </a:ext>
            </a:extLst>
          </p:cNvPr>
          <p:cNvSpPr txBox="1"/>
          <p:nvPr/>
        </p:nvSpPr>
        <p:spPr>
          <a:xfrm>
            <a:off x="7595575" y="4184547"/>
            <a:ext cx="34453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1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Образовательный контент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495175-6B10-419E-AC29-A3366F24BDCF}"/>
              </a:ext>
            </a:extLst>
          </p:cNvPr>
          <p:cNvSpPr txBox="1"/>
          <p:nvPr/>
        </p:nvSpPr>
        <p:spPr>
          <a:xfrm>
            <a:off x="4158262" y="287023"/>
            <a:ext cx="441018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oboto"/>
                <a:ea typeface="+mn-ea"/>
                <a:cs typeface="Arial" panose="020B0604020202020204" pitchFamily="34" charset="0"/>
              </a:rPr>
              <a:t>Туристический веб-портал ЦАРЭС: Содержание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" name="Retângulo arredondado 11">
            <a:extLst>
              <a:ext uri="{FF2B5EF4-FFF2-40B4-BE49-F238E27FC236}">
                <a16:creationId xmlns:a16="http://schemas.microsoft.com/office/drawing/2014/main" id="{6CA8EB92-F5A3-AADD-FAA2-0690BC52B2A4}"/>
              </a:ext>
            </a:extLst>
          </p:cNvPr>
          <p:cNvSpPr/>
          <p:nvPr/>
        </p:nvSpPr>
        <p:spPr>
          <a:xfrm>
            <a:off x="292768" y="1929123"/>
            <a:ext cx="5307301" cy="2072166"/>
          </a:xfrm>
          <a:prstGeom prst="roundRect">
            <a:avLst>
              <a:gd name="adj" fmla="val 549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Страны, регионы и активы, кластеры, опыт партнеров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(Где, Что, Как, Кто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66367"/>
              </a:solidFill>
              <a:effectLst/>
              <a:uLnTx/>
              <a:uFillTx/>
              <a:latin typeface="Roboto" panose="02000000000000000000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Путеводители и редакционные статьи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(Агрегаторы, Сторителлинг, Конструкторы трафика, SEO/оптимизация поисковых систем)</a:t>
            </a:r>
          </a:p>
        </p:txBody>
      </p:sp>
      <p:sp>
        <p:nvSpPr>
          <p:cNvPr id="5" name="Retângulo arredondado 19">
            <a:extLst>
              <a:ext uri="{FF2B5EF4-FFF2-40B4-BE49-F238E27FC236}">
                <a16:creationId xmlns:a16="http://schemas.microsoft.com/office/drawing/2014/main" id="{5BDFA7B3-E5BC-3DA0-AAAB-D65AB3767769}"/>
              </a:ext>
            </a:extLst>
          </p:cNvPr>
          <p:cNvSpPr/>
          <p:nvPr/>
        </p:nvSpPr>
        <p:spPr>
          <a:xfrm>
            <a:off x="6308084" y="1903718"/>
            <a:ext cx="5449224" cy="2030431"/>
          </a:xfrm>
          <a:prstGeom prst="roundRect">
            <a:avLst>
              <a:gd name="adj" fmla="val 549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Инвестиционные положения и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                </a:t>
            </a: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законодательство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(нормативная база, механизмы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    </a:t>
            </a: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финансирования и альтернативы для каждой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  </a:t>
            </a: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страны и региона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       </a:t>
            </a: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Инвестиционные проекты (R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      </a:t>
            </a: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(Инвестиционные проекты в сфере туризма)</a:t>
            </a:r>
          </a:p>
        </p:txBody>
      </p:sp>
      <p:sp>
        <p:nvSpPr>
          <p:cNvPr id="7" name="Retângulo arredondado 15">
            <a:extLst>
              <a:ext uri="{FF2B5EF4-FFF2-40B4-BE49-F238E27FC236}">
                <a16:creationId xmlns:a16="http://schemas.microsoft.com/office/drawing/2014/main" id="{25764235-742D-3D87-5F28-7FFAD1FB6FDA}"/>
              </a:ext>
            </a:extLst>
          </p:cNvPr>
          <p:cNvSpPr/>
          <p:nvPr/>
        </p:nvSpPr>
        <p:spPr>
          <a:xfrm>
            <a:off x="292767" y="4585600"/>
            <a:ext cx="5307301" cy="1771921"/>
          </a:xfrm>
          <a:prstGeom prst="roundRect">
            <a:avLst>
              <a:gd name="adj" fmla="val 549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Развитие туризма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Данные и статистика туризма (R)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Туристические публикации (R)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События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Контакты</a:t>
            </a:r>
          </a:p>
        </p:txBody>
      </p:sp>
      <p:sp>
        <p:nvSpPr>
          <p:cNvPr id="8" name="Retângulo arredondado 22">
            <a:extLst>
              <a:ext uri="{FF2B5EF4-FFF2-40B4-BE49-F238E27FC236}">
                <a16:creationId xmlns:a16="http://schemas.microsoft.com/office/drawing/2014/main" id="{B61B0855-1BC0-6CCF-5E3B-EE9364C4F056}"/>
              </a:ext>
            </a:extLst>
          </p:cNvPr>
          <p:cNvSpPr/>
          <p:nvPr/>
        </p:nvSpPr>
        <p:spPr>
          <a:xfrm>
            <a:off x="6308084" y="4585600"/>
            <a:ext cx="5449224" cy="1771921"/>
          </a:xfrm>
          <a:prstGeom prst="roundRect">
            <a:avLst>
              <a:gd name="adj" fmla="val 549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Программы обучения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(практическая информация, стипендии и спонсируемые государством программы для обучения в сфере туризма и гостеприимства в странах Шелкового пути)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83597922-2EB4-2A41-9E25-AB52B7E6AF3F}"/>
              </a:ext>
            </a:extLst>
          </p:cNvPr>
          <p:cNvSpPr/>
          <p:nvPr/>
        </p:nvSpPr>
        <p:spPr>
          <a:xfrm>
            <a:off x="4899224" y="3567258"/>
            <a:ext cx="1818804" cy="135220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2000" b="0" i="0" u="none" strike="noStrike" kern="1200" cap="none" spc="0" normalizeH="0" baseline="0" noProof="0" dirty="0">
                <a:ln>
                  <a:noFill/>
                </a:ln>
                <a:solidFill>
                  <a:srgbClr val="E7EBF0">
                    <a:lumMod val="10000"/>
                  </a:srgbClr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синергия</a:t>
            </a:r>
          </a:p>
        </p:txBody>
      </p:sp>
    </p:spTree>
    <p:extLst>
      <p:ext uri="{BB962C8B-B14F-4D97-AF65-F5344CB8AC3E}">
        <p14:creationId xmlns:p14="http://schemas.microsoft.com/office/powerpoint/2010/main" val="6833474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00251347-254E-0D44-8122-B37D94FD14A3}"/>
              </a:ext>
            </a:extLst>
          </p:cNvPr>
          <p:cNvSpPr txBox="1"/>
          <p:nvPr/>
        </p:nvSpPr>
        <p:spPr>
          <a:xfrm>
            <a:off x="1130925" y="86485"/>
            <a:ext cx="8910850" cy="197849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sz="3600" b="1" dirty="0">
                <a:solidFill>
                  <a:srgbClr val="FF0000"/>
                </a:solidFill>
                <a:latin typeface="Abadi" panose="020B0604020104020204" pitchFamily="34" charset="0"/>
                <a:cs typeface="Arial" panose="020B0604020202020204" pitchFamily="34" charset="0"/>
              </a:rPr>
              <a:t>Воздействие изменения климата в регионе ЦАРЭС </a:t>
            </a:r>
            <a:r>
              <a:rPr lang="ru-RU" sz="3600" b="1" dirty="0">
                <a:solidFill>
                  <a:srgbClr val="FF000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  <a:cs typeface="Arial" panose="020B0604020202020204" pitchFamily="34" charset="0"/>
              </a:rPr>
              <a:t>и </a:t>
            </a:r>
            <a:r>
              <a:rPr lang="ru-RU" sz="3600" b="1" dirty="0">
                <a:solidFill>
                  <a:srgbClr val="FF0000"/>
                </a:solidFill>
                <a:cs typeface="Arial" panose="020B0604020202020204" pitchFamily="34" charset="0"/>
              </a:rPr>
              <a:t>необходимые срочные меры для комплексных решений</a:t>
            </a:r>
            <a:endParaRPr lang="en-US" sz="3600" b="1" dirty="0">
              <a:solidFill>
                <a:srgbClr val="FF0000"/>
              </a:solidFill>
              <a:latin typeface="Abadi" panose="020B0604020104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85000"/>
              </a:lnSpc>
            </a:pPr>
            <a:endParaRPr lang="en-US" sz="3600" b="1" dirty="0">
              <a:solidFill>
                <a:srgbClr val="FF0000"/>
              </a:solidFill>
              <a:latin typeface="Abadi" panose="020B0604020104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2664F31-3A8D-A88C-32F1-61D8D62FC17B}"/>
              </a:ext>
            </a:extLst>
          </p:cNvPr>
          <p:cNvSpPr/>
          <p:nvPr/>
        </p:nvSpPr>
        <p:spPr>
          <a:xfrm>
            <a:off x="8610731" y="2374073"/>
            <a:ext cx="3093029" cy="3335549"/>
          </a:xfrm>
          <a:custGeom>
            <a:avLst/>
            <a:gdLst>
              <a:gd name="connsiteX0" fmla="*/ 370105 w 3895024"/>
              <a:gd name="connsiteY0" fmla="*/ 0 h 5107724"/>
              <a:gd name="connsiteX1" fmla="*/ 3895024 w 3895024"/>
              <a:gd name="connsiteY1" fmla="*/ 0 h 5107724"/>
              <a:gd name="connsiteX2" fmla="*/ 3895024 w 3895024"/>
              <a:gd name="connsiteY2" fmla="*/ 5107724 h 5107724"/>
              <a:gd name="connsiteX3" fmla="*/ 0 w 3895024"/>
              <a:gd name="connsiteY3" fmla="*/ 5107724 h 5107724"/>
              <a:gd name="connsiteX4" fmla="*/ 0 w 3895024"/>
              <a:gd name="connsiteY4" fmla="*/ 370105 h 5107724"/>
              <a:gd name="connsiteX5" fmla="*/ 370105 w 3895024"/>
              <a:gd name="connsiteY5" fmla="*/ 0 h 5107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95024" h="5107724">
                <a:moveTo>
                  <a:pt x="370105" y="0"/>
                </a:moveTo>
                <a:lnTo>
                  <a:pt x="3895024" y="0"/>
                </a:lnTo>
                <a:lnTo>
                  <a:pt x="3895024" y="5107724"/>
                </a:lnTo>
                <a:lnTo>
                  <a:pt x="0" y="5107724"/>
                </a:lnTo>
                <a:lnTo>
                  <a:pt x="0" y="370105"/>
                </a:lnTo>
                <a:cubicBezTo>
                  <a:pt x="0" y="165702"/>
                  <a:pt x="165702" y="0"/>
                  <a:pt x="370105" y="0"/>
                </a:cubicBezTo>
                <a:close/>
              </a:path>
            </a:pathLst>
          </a:cu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60295CF-5824-EAFF-A3C2-30A1DD7FCB88}"/>
              </a:ext>
            </a:extLst>
          </p:cNvPr>
          <p:cNvSpPr txBox="1"/>
          <p:nvPr/>
        </p:nvSpPr>
        <p:spPr>
          <a:xfrm>
            <a:off x="7824497" y="2201467"/>
            <a:ext cx="419321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badi" panose="020B0604020104020204" pitchFamily="34" charset="0"/>
                <a:cs typeface="Arial" panose="020B0604020202020204" pitchFamily="34" charset="0"/>
              </a:rPr>
              <a:t>Справедливый энергетический переход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badi" panose="020B0604020104020204" pitchFamily="34" charset="0"/>
                <a:cs typeface="Arial" panose="020B0604020202020204" pitchFamily="34" charset="0"/>
              </a:rPr>
              <a:t>NEXUS</a:t>
            </a:r>
            <a:r>
              <a:rPr lang="ru-RU" sz="1400" dirty="0">
                <a:latin typeface="Abadi" panose="020B0604020104020204" pitchFamily="34" charset="0"/>
                <a:cs typeface="Arial" panose="020B0604020202020204" pitchFamily="34" charset="0"/>
              </a:rPr>
              <a:t> в водном компоненте и энергетике </a:t>
            </a:r>
            <a:endParaRPr lang="en-US" sz="1400" dirty="0">
              <a:latin typeface="Abadi" panose="020B0604020104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badi" panose="020B0604020104020204" pitchFamily="34" charset="0"/>
                <a:cs typeface="Arial" panose="020B0604020202020204" pitchFamily="34" charset="0"/>
              </a:rPr>
              <a:t>Умное сельское хозяйство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badi" panose="020B0604020104020204" pitchFamily="34" charset="0"/>
                <a:cs typeface="Arial" panose="020B0604020202020204" pitchFamily="34" charset="0"/>
              </a:rPr>
              <a:t>Не причиняющие ущерб климату и эффективные транспорт, транзит и торговл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badi" panose="020B0604020104020204" pitchFamily="34" charset="0"/>
                <a:cs typeface="Arial" panose="020B0604020202020204" pitchFamily="34" charset="0"/>
              </a:rPr>
              <a:t>Управление рисками стихийных бедствий и финансирова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badi" panose="020B0604020104020204" pitchFamily="34" charset="0"/>
                <a:cs typeface="Arial" panose="020B0604020202020204" pitchFamily="34" charset="0"/>
              </a:rPr>
              <a:t>Устойчивые города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badi" panose="020B0604020104020204" pitchFamily="34" charset="0"/>
                <a:cs typeface="Arial" panose="020B0604020202020204" pitchFamily="34" charset="0"/>
              </a:rPr>
              <a:t>Межотраслевые проблемы и политические реформ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badi" panose="020B0604020104020204" pitchFamily="34" charset="0"/>
                <a:cs typeface="Arial" panose="020B0604020202020204" pitchFamily="34" charset="0"/>
              </a:rPr>
              <a:t>Разработка новых практи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badi" panose="020B0604020104020204" pitchFamily="34" charset="0"/>
                <a:cs typeface="Arial" panose="020B0604020202020204" pitchFamily="34" charset="0"/>
              </a:rPr>
              <a:t>Понимание безотлагательности</a:t>
            </a:r>
            <a:endParaRPr lang="en-US" sz="1400" dirty="0">
              <a:latin typeface="Abadi" panose="020B0604020104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E0D112A-DFEE-B7AD-B804-15FE84071251}"/>
              </a:ext>
            </a:extLst>
          </p:cNvPr>
          <p:cNvSpPr txBox="1"/>
          <p:nvPr/>
        </p:nvSpPr>
        <p:spPr>
          <a:xfrm>
            <a:off x="8212329" y="1636656"/>
            <a:ext cx="39564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  <a:cs typeface="Arial" panose="020B0604020202020204" pitchFamily="34" charset="0"/>
              </a:rPr>
              <a:t>Необходимы срочные меры для комплексных решений</a:t>
            </a:r>
            <a:endParaRPr lang="en-US" dirty="0"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  <a:latin typeface="Abadi" panose="020B0604020104020204" pitchFamily="34" charset="0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72E39AF3-E8B7-E584-89A2-12B0816CC091}"/>
              </a:ext>
            </a:extLst>
          </p:cNvPr>
          <p:cNvSpPr/>
          <p:nvPr/>
        </p:nvSpPr>
        <p:spPr>
          <a:xfrm>
            <a:off x="252351" y="1598612"/>
            <a:ext cx="3727322" cy="5022129"/>
          </a:xfrm>
          <a:prstGeom prst="roundRect">
            <a:avLst>
              <a:gd name="adj" fmla="val 911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ACDE58D-A3DE-A9B7-69B9-A564081AB836}"/>
              </a:ext>
            </a:extLst>
          </p:cNvPr>
          <p:cNvSpPr txBox="1"/>
          <p:nvPr/>
        </p:nvSpPr>
        <p:spPr>
          <a:xfrm>
            <a:off x="490236" y="3532628"/>
            <a:ext cx="321987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Энергетика</a:t>
            </a:r>
          </a:p>
          <a:p>
            <a:r>
              <a:rPr lang="ru-RU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Водные ресурсы</a:t>
            </a:r>
          </a:p>
          <a:p>
            <a:r>
              <a:rPr lang="ru-RU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Сельское хозяйство </a:t>
            </a:r>
          </a:p>
          <a:p>
            <a:r>
              <a:rPr lang="ru-RU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Промышленность </a:t>
            </a:r>
          </a:p>
          <a:p>
            <a:r>
              <a:rPr lang="ru-RU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Транспорт</a:t>
            </a:r>
          </a:p>
          <a:p>
            <a:r>
              <a:rPr lang="ru-RU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Города</a:t>
            </a:r>
          </a:p>
          <a:p>
            <a:r>
              <a:rPr lang="ru-RU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Системы здравоохранения</a:t>
            </a:r>
          </a:p>
          <a:p>
            <a:r>
              <a:rPr lang="ru-RU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Готовность к стихийным </a:t>
            </a:r>
            <a:endParaRPr lang="en-US" dirty="0">
              <a:solidFill>
                <a:srgbClr val="00B05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badi" panose="020B0604020104020204" pitchFamily="34" charset="0"/>
            </a:endParaRPr>
          </a:p>
          <a:p>
            <a:r>
              <a:rPr lang="ru-RU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бедствиям</a:t>
            </a:r>
          </a:p>
          <a:p>
            <a:r>
              <a:rPr lang="ru-RU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Образование</a:t>
            </a:r>
          </a:p>
          <a:p>
            <a:r>
              <a:rPr lang="ru-RU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Социальное обеспечение</a:t>
            </a:r>
            <a:endParaRPr lang="en-US" b="1" dirty="0">
              <a:solidFill>
                <a:srgbClr val="00B05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badi" panose="020B0604020104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8BCC5C8-0C55-97A1-92C5-2693BC0EFA27}"/>
              </a:ext>
            </a:extLst>
          </p:cNvPr>
          <p:cNvSpPr txBox="1"/>
          <p:nvPr/>
        </p:nvSpPr>
        <p:spPr>
          <a:xfrm>
            <a:off x="546818" y="1654833"/>
            <a:ext cx="301729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latin typeface="Abadi" panose="020B0604020104020204" pitchFamily="34" charset="0"/>
              </a:rPr>
              <a:t>Сектора, которые оказывают перекрестное воздействие на изменение климата и сами подвергаются его влиянию</a:t>
            </a:r>
            <a:endParaRPr lang="en-US" sz="2000" b="1" dirty="0">
              <a:latin typeface="Abadi" panose="020B0604020104020204" pitchFamily="34" charset="0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0EF91F90-88E6-A4CC-9999-79E0E1F2EA87}"/>
              </a:ext>
            </a:extLst>
          </p:cNvPr>
          <p:cNvSpPr/>
          <p:nvPr/>
        </p:nvSpPr>
        <p:spPr>
          <a:xfrm>
            <a:off x="4275367" y="1858628"/>
            <a:ext cx="2879823" cy="4517740"/>
          </a:xfrm>
          <a:prstGeom prst="roundRect">
            <a:avLst>
              <a:gd name="adj" fmla="val 911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PH" b="0" i="0" dirty="0">
                <a:solidFill>
                  <a:srgbClr val="000000"/>
                </a:solidFill>
                <a:effectLst/>
                <a:latin typeface="Times"/>
              </a:rPr>
              <a:t> </a:t>
            </a:r>
            <a:endParaRPr lang="en-US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9E463A5-C589-BE50-5469-3444E48FCB1D}"/>
              </a:ext>
            </a:extLst>
          </p:cNvPr>
          <p:cNvSpPr txBox="1"/>
          <p:nvPr/>
        </p:nvSpPr>
        <p:spPr>
          <a:xfrm>
            <a:off x="4597290" y="1823530"/>
            <a:ext cx="238806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latin typeface="Abadi" panose="020B0604020104020204" pitchFamily="34" charset="0"/>
              </a:rPr>
              <a:t>Это уже началось! </a:t>
            </a:r>
          </a:p>
          <a:p>
            <a:pPr marL="12700" algn="ctr"/>
            <a:r>
              <a:rPr lang="ru-RU" sz="1600" b="1" dirty="0">
                <a:latin typeface="Abadi" panose="020B0604020104020204" pitchFamily="34" charset="0"/>
              </a:rPr>
              <a:t>Ни одна страна не застрахована</a:t>
            </a:r>
            <a:endParaRPr lang="en-US" sz="1600" b="1" dirty="0">
              <a:latin typeface="Abadi" panose="020B0604020104020204" pitchFamily="34" charset="0"/>
            </a:endParaRPr>
          </a:p>
        </p:txBody>
      </p:sp>
      <p:pic>
        <p:nvPicPr>
          <p:cNvPr id="47" name="Picture 46" descr="A cartoon of a factory&#10;&#10;Description automatically generated">
            <a:extLst>
              <a:ext uri="{FF2B5EF4-FFF2-40B4-BE49-F238E27FC236}">
                <a16:creationId xmlns:a16="http://schemas.microsoft.com/office/drawing/2014/main" id="{D4158682-A915-9802-D25E-B57A9242AF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4477" y="2989109"/>
            <a:ext cx="1904809" cy="2875121"/>
          </a:xfrm>
          <a:prstGeom prst="rect">
            <a:avLst/>
          </a:prstGeom>
        </p:spPr>
      </p:pic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3C3CCD78-43F7-99F9-8380-AC427D20CF14}"/>
              </a:ext>
            </a:extLst>
          </p:cNvPr>
          <p:cNvSpPr/>
          <p:nvPr/>
        </p:nvSpPr>
        <p:spPr>
          <a:xfrm>
            <a:off x="4392812" y="5821343"/>
            <a:ext cx="2564125" cy="1036657"/>
          </a:xfrm>
          <a:prstGeom prst="roundRect">
            <a:avLst>
              <a:gd name="adj" fmla="val 15243"/>
            </a:avLst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57BE34F-8B35-9C22-2B1B-6176EDA7C0F4}"/>
              </a:ext>
            </a:extLst>
          </p:cNvPr>
          <p:cNvSpPr txBox="1"/>
          <p:nvPr/>
        </p:nvSpPr>
        <p:spPr>
          <a:xfrm>
            <a:off x="4556224" y="5806981"/>
            <a:ext cx="214881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badi" panose="020B0604020104020204" pitchFamily="34" charset="0"/>
              </a:rPr>
              <a:t>73.3% 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  <a:latin typeface="Abadi" panose="020B0604020104020204" pitchFamily="34" charset="0"/>
              </a:rPr>
              <a:t>глобальных выбросов от энергетики (электроэнергия, тепло и транспорт)</a:t>
            </a:r>
            <a:endParaRPr lang="en-US" sz="1200" dirty="0">
              <a:solidFill>
                <a:schemeClr val="bg1"/>
              </a:solidFill>
              <a:latin typeface="Abadi" panose="020B0604020104020204" pitchFamily="34" charset="0"/>
            </a:endParaRPr>
          </a:p>
        </p:txBody>
      </p:sp>
      <p:sp>
        <p:nvSpPr>
          <p:cNvPr id="50" name="Triangle 20">
            <a:extLst>
              <a:ext uri="{FF2B5EF4-FFF2-40B4-BE49-F238E27FC236}">
                <a16:creationId xmlns:a16="http://schemas.microsoft.com/office/drawing/2014/main" id="{8931887D-519F-DD7A-63D1-24AEDD2B2D6A}"/>
              </a:ext>
            </a:extLst>
          </p:cNvPr>
          <p:cNvSpPr/>
          <p:nvPr/>
        </p:nvSpPr>
        <p:spPr>
          <a:xfrm rot="5400000">
            <a:off x="5646126" y="3832783"/>
            <a:ext cx="3710308" cy="360308"/>
          </a:xfrm>
          <a:prstGeom prst="triangle">
            <a:avLst>
              <a:gd name="adj" fmla="val 50517"/>
            </a:avLst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AutoShape 28" descr="Tornado with solid fill">
            <a:extLst>
              <a:ext uri="{FF2B5EF4-FFF2-40B4-BE49-F238E27FC236}">
                <a16:creationId xmlns:a16="http://schemas.microsoft.com/office/drawing/2014/main" id="{D22BC7B0-AA95-37A2-C48A-4DB5914249E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8415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: Rounded Corners 48">
            <a:extLst>
              <a:ext uri="{FF2B5EF4-FFF2-40B4-BE49-F238E27FC236}">
                <a16:creationId xmlns:a16="http://schemas.microsoft.com/office/drawing/2014/main" id="{951A1F8A-30AB-0C48-DB4D-18BA0DC6CA1A}"/>
              </a:ext>
            </a:extLst>
          </p:cNvPr>
          <p:cNvSpPr/>
          <p:nvPr/>
        </p:nvSpPr>
        <p:spPr>
          <a:xfrm>
            <a:off x="8045622" y="4944529"/>
            <a:ext cx="3852758" cy="1753629"/>
          </a:xfrm>
          <a:prstGeom prst="roundRect">
            <a:avLst>
              <a:gd name="adj" fmla="val 15243"/>
            </a:avLst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0A2B843-62AC-2E57-D775-9C83FB2FFE71}"/>
              </a:ext>
            </a:extLst>
          </p:cNvPr>
          <p:cNvSpPr txBox="1"/>
          <p:nvPr/>
        </p:nvSpPr>
        <p:spPr>
          <a:xfrm>
            <a:off x="8238872" y="4970209"/>
            <a:ext cx="3886436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dirty="0">
                <a:solidFill>
                  <a:schemeClr val="bg1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Abadi"/>
                <a:cs typeface="Arial"/>
              </a:rPr>
              <a:t>Необходимость создания прочных знаний, передачи технологий и потенциала в РСЧ ЦАРЭС для решения проблем воздействия изменения климата с акцентом на сотрудничество​</a:t>
            </a:r>
            <a:endParaRPr lang="en-US" dirty="0">
              <a:solidFill>
                <a:schemeClr val="bg1"/>
              </a:solidFill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  <a:latin typeface="Abadi" panose="020B0604020104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7CA614B-3607-8702-DB73-D28B6F54FAD4}"/>
              </a:ext>
            </a:extLst>
          </p:cNvPr>
          <p:cNvGrpSpPr/>
          <p:nvPr/>
        </p:nvGrpSpPr>
        <p:grpSpPr>
          <a:xfrm>
            <a:off x="4325260" y="2564525"/>
            <a:ext cx="2757861" cy="3152944"/>
            <a:chOff x="4044883" y="2618212"/>
            <a:chExt cx="2104704" cy="2221355"/>
          </a:xfrm>
        </p:grpSpPr>
        <p:pic>
          <p:nvPicPr>
            <p:cNvPr id="3" name="Picture 2" descr="A black and white image of a plant and sun&#10;&#10;Description automatically generated">
              <a:extLst>
                <a:ext uri="{FF2B5EF4-FFF2-40B4-BE49-F238E27FC236}">
                  <a16:creationId xmlns:a16="http://schemas.microsoft.com/office/drawing/2014/main" id="{92ADD697-FFBD-A01B-94A8-CE014F6A1E7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45042" y="4213267"/>
              <a:ext cx="261782" cy="269678"/>
            </a:xfrm>
            <a:prstGeom prst="rect">
              <a:avLst/>
            </a:prstGeom>
          </p:spPr>
        </p:pic>
        <p:pic>
          <p:nvPicPr>
            <p:cNvPr id="6" name="Picture 5" descr="A black background with a black square&#10;&#10;Description automatically generated">
              <a:extLst>
                <a:ext uri="{FF2B5EF4-FFF2-40B4-BE49-F238E27FC236}">
                  <a16:creationId xmlns:a16="http://schemas.microsoft.com/office/drawing/2014/main" id="{F502A7CB-5250-942E-3CED-DAC8FD7E73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381215" y="4273915"/>
              <a:ext cx="339035" cy="335087"/>
            </a:xfrm>
            <a:prstGeom prst="rect">
              <a:avLst/>
            </a:prstGeom>
          </p:spPr>
        </p:pic>
        <p:pic>
          <p:nvPicPr>
            <p:cNvPr id="7" name="Picture 6" descr="A black icon of a mountain and water&#10;&#10;Description automatically generated">
              <a:extLst>
                <a:ext uri="{FF2B5EF4-FFF2-40B4-BE49-F238E27FC236}">
                  <a16:creationId xmlns:a16="http://schemas.microsoft.com/office/drawing/2014/main" id="{790CF624-092E-27D8-882B-11ED6C6B175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97939" y="3040742"/>
              <a:ext cx="235510" cy="241333"/>
            </a:xfrm>
            <a:prstGeom prst="rect">
              <a:avLst/>
            </a:prstGeom>
          </p:spPr>
        </p:pic>
        <p:pic>
          <p:nvPicPr>
            <p:cNvPr id="9" name="Picture 8" descr="A house with a flood&#10;&#10;Description automatically generated">
              <a:extLst>
                <a:ext uri="{FF2B5EF4-FFF2-40B4-BE49-F238E27FC236}">
                  <a16:creationId xmlns:a16="http://schemas.microsoft.com/office/drawing/2014/main" id="{D61DA687-E85F-DCD2-1C50-B63E9F0167D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897939" y="3437646"/>
              <a:ext cx="251648" cy="247256"/>
            </a:xfrm>
            <a:prstGeom prst="rect">
              <a:avLst/>
            </a:prstGeom>
          </p:spPr>
        </p:pic>
        <p:pic>
          <p:nvPicPr>
            <p:cNvPr id="11" name="Picture 10" descr="A thermometer with a sun&#10;&#10;Description automatically generated">
              <a:extLst>
                <a:ext uri="{FF2B5EF4-FFF2-40B4-BE49-F238E27FC236}">
                  <a16:creationId xmlns:a16="http://schemas.microsoft.com/office/drawing/2014/main" id="{8532100E-EBDD-C114-7582-BFEEE354D99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044883" y="3290387"/>
              <a:ext cx="326664" cy="348280"/>
            </a:xfrm>
            <a:prstGeom prst="rect">
              <a:avLst/>
            </a:prstGeom>
          </p:spPr>
        </p:pic>
        <p:pic>
          <p:nvPicPr>
            <p:cNvPr id="13" name="Picture 12" descr="A black silhouette of trees on fire&#10;&#10;Description automatically generated">
              <a:extLst>
                <a:ext uri="{FF2B5EF4-FFF2-40B4-BE49-F238E27FC236}">
                  <a16:creationId xmlns:a16="http://schemas.microsoft.com/office/drawing/2014/main" id="{490672F3-790C-EDC5-1803-086A199A4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194529" y="3852325"/>
              <a:ext cx="295326" cy="300646"/>
            </a:xfrm>
            <a:prstGeom prst="rect">
              <a:avLst/>
            </a:prstGeom>
          </p:spPr>
        </p:pic>
        <p:pic>
          <p:nvPicPr>
            <p:cNvPr id="14" name="Picture 13" descr="A black background with a black square&#10;&#10;Description automatically generated">
              <a:extLst>
                <a:ext uri="{FF2B5EF4-FFF2-40B4-BE49-F238E27FC236}">
                  <a16:creationId xmlns:a16="http://schemas.microsoft.com/office/drawing/2014/main" id="{A4ACCE8A-A2EA-1A6C-8388-79E0BB3569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333683" y="4501135"/>
              <a:ext cx="309045" cy="302777"/>
            </a:xfrm>
            <a:prstGeom prst="rect">
              <a:avLst/>
            </a:prstGeom>
          </p:spPr>
        </p:pic>
        <p:pic>
          <p:nvPicPr>
            <p:cNvPr id="15" name="Picture 14" descr="A silhouette of a person holding a bowl&#10;&#10;Description automatically generated">
              <a:extLst>
                <a:ext uri="{FF2B5EF4-FFF2-40B4-BE49-F238E27FC236}">
                  <a16:creationId xmlns:a16="http://schemas.microsoft.com/office/drawing/2014/main" id="{06309E74-26F4-261E-BF71-CE95BA2078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861047" y="3814946"/>
              <a:ext cx="258656" cy="282345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A6D1751-9A6B-331C-B951-0C137FEE4F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752408" y="4505184"/>
              <a:ext cx="340026" cy="334383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91C0EE55-862F-0478-C6D4-00B977387B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375849" y="2773786"/>
              <a:ext cx="394608" cy="394608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B25176FF-B9BB-DF1E-D8BF-89F64BCBC8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922421" y="2618212"/>
              <a:ext cx="323818" cy="338351"/>
            </a:xfrm>
            <a:prstGeom prst="rect">
              <a:avLst/>
            </a:prstGeom>
          </p:spPr>
        </p:pic>
      </p:grpSp>
      <p:pic>
        <p:nvPicPr>
          <p:cNvPr id="20" name="Graphic 19" descr="Tornado with solid fill">
            <a:extLst>
              <a:ext uri="{FF2B5EF4-FFF2-40B4-BE49-F238E27FC236}">
                <a16:creationId xmlns:a16="http://schemas.microsoft.com/office/drawing/2014/main" id="{0DC0C189-9CD3-7741-DB1C-ED102C94E24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110250" y="2707055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842573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0671A8AE-40A1-4631-A6B8-581AFF0654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53D918-7F90-9B53-F586-3E9FBC19D5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091" r="9511" b="2"/>
          <a:stretch/>
        </p:blipFill>
        <p:spPr>
          <a:xfrm>
            <a:off x="3523488" y="0"/>
            <a:ext cx="8668512" cy="68579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B58EF07-17C2-48CF-ABB0-EEF1F17CB8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" y="0"/>
            <a:ext cx="9339206" cy="6858000"/>
          </a:xfrm>
          <a:prstGeom prst="rect">
            <a:avLst/>
          </a:prstGeom>
          <a:gradFill>
            <a:gsLst>
              <a:gs pos="58000">
                <a:schemeClr val="tx1"/>
              </a:gs>
              <a:gs pos="33000">
                <a:schemeClr val="tx1">
                  <a:alpha val="64000"/>
                </a:schemeClr>
              </a:gs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879AD2-52A6-40AA-A8BF-2F1676AA7E86}"/>
              </a:ext>
            </a:extLst>
          </p:cNvPr>
          <p:cNvSpPr txBox="1"/>
          <p:nvPr/>
        </p:nvSpPr>
        <p:spPr>
          <a:xfrm>
            <a:off x="481029" y="1370096"/>
            <a:ext cx="5269676" cy="213007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обро пожаловать на виртуальный туристический портал ЦАРЭС </a:t>
            </a:r>
            <a:r>
              <a:rPr kumimoji="0" lang="ru-RU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www.visitsilkroad.org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E45218D-356F-913A-BDDD-3A5E6170DC6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592" y="87202"/>
            <a:ext cx="1076961" cy="1076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9762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A01393A-6273-439B-AACF-16ED5D6812F4}"/>
              </a:ext>
            </a:extLst>
          </p:cNvPr>
          <p:cNvSpPr txBox="1"/>
          <p:nvPr/>
        </p:nvSpPr>
        <p:spPr>
          <a:xfrm>
            <a:off x="532543" y="-5028"/>
            <a:ext cx="111269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sng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oboto"/>
                <a:ea typeface="+mn-ea"/>
                <a:cs typeface="Arial" panose="020B0604020202020204" pitchFamily="34" charset="0"/>
              </a:rPr>
              <a:t>www.visitsilkroad.org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oboto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0DE8AD3-029F-F439-55FF-B3256D7967F7}"/>
              </a:ext>
            </a:extLst>
          </p:cNvPr>
          <p:cNvGrpSpPr/>
          <p:nvPr/>
        </p:nvGrpSpPr>
        <p:grpSpPr>
          <a:xfrm>
            <a:off x="7690462" y="5392494"/>
            <a:ext cx="4416972" cy="1465506"/>
            <a:chOff x="4243895" y="3459124"/>
            <a:chExt cx="3407329" cy="1254245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7110A25-2150-3892-DC85-5803616F4A4E}"/>
                </a:ext>
              </a:extLst>
            </p:cNvPr>
            <p:cNvSpPr txBox="1"/>
            <p:nvPr/>
          </p:nvSpPr>
          <p:spPr>
            <a:xfrm>
              <a:off x="4243895" y="3459124"/>
              <a:ext cx="3342097" cy="26340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spcAft>
                  <a:spcPts val="600"/>
                </a:spcAft>
                <a:defRPr sz="2400" b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утеводитель по достопримечательностям</a:t>
              </a:r>
              <a:endPara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678587F-3BDA-1631-5D5A-A8CEAC3BE9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243896" y="3779630"/>
              <a:ext cx="3407328" cy="933739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206EB1AA-0C67-A165-5DBC-B2988CF6DA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5903" y="739923"/>
            <a:ext cx="4586097" cy="197376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20E4375-8F56-B524-87F2-B3ABC05E28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03" y="764413"/>
            <a:ext cx="7569200" cy="56769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3A9426B-1193-984E-C596-C4C703B1D0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05903" y="2291582"/>
            <a:ext cx="4586097" cy="21763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CD8BF36-8788-894D-048E-33DE66C619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05903" y="4196599"/>
            <a:ext cx="4416972" cy="109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4902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515EE5F-EB85-7941-ABA8-1A3A640B711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5641640"/>
            <a:ext cx="919498" cy="91949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45DEC36-4EE4-6F4B-89C8-3B27E5B54CC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3919" y="5484177"/>
            <a:ext cx="1076961" cy="107696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7881AFB-B17E-BCA0-E0E3-0CB07EB51F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13150" y="170385"/>
            <a:ext cx="7772400" cy="6517229"/>
          </a:xfrm>
          <a:prstGeom prst="rect">
            <a:avLst/>
          </a:prstGeom>
        </p:spPr>
      </p:pic>
      <p:pic>
        <p:nvPicPr>
          <p:cNvPr id="4" name="Picture 3" descr="A logo with a yellow and red circle&#10;&#10;Description automatically generated">
            <a:hlinkClick r:id="rId5"/>
            <a:extLst>
              <a:ext uri="{FF2B5EF4-FFF2-40B4-BE49-F238E27FC236}">
                <a16:creationId xmlns:a16="http://schemas.microsoft.com/office/drawing/2014/main" id="{E5079140-ED23-2AF4-B056-2F046427A44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9813"/>
          <a:stretch/>
        </p:blipFill>
        <p:spPr>
          <a:xfrm>
            <a:off x="541455" y="1948543"/>
            <a:ext cx="4904928" cy="1802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38961"/>
      </p:ext>
    </p:extLst>
  </p:cSld>
  <p:clrMapOvr>
    <a:masterClrMapping/>
  </p:clrMapOvr>
  <p:transition spd="slow">
    <p:push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een and white background with a green square with white text&#10;&#10;Description automatically generated">
            <a:extLst>
              <a:ext uri="{FF2B5EF4-FFF2-40B4-BE49-F238E27FC236}">
                <a16:creationId xmlns:a16="http://schemas.microsoft.com/office/drawing/2014/main" id="{1B3008D6-C8B2-3647-7A02-D5BE7DBB48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48733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00EB971-2B00-087A-1457-7BB26300B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229" y="325942"/>
            <a:ext cx="10515600" cy="610495"/>
          </a:xfrm>
        </p:spPr>
        <p:txBody>
          <a:bodyPr>
            <a:noAutofit/>
          </a:bodyPr>
          <a:lstStyle/>
          <a:p>
            <a:r>
              <a:rPr lang="ru-RU" sz="3600" b="1" dirty="0">
                <a:latin typeface="Arial" panose="020B0604020202020204" pitchFamily="34" charset="0"/>
                <a:cs typeface="Arial" panose="020B0604020202020204" pitchFamily="34" charset="0"/>
              </a:rPr>
              <a:t>Повестка дня 22ой МК 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утро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A344AB9A-8F72-D5E2-750E-E635F4757F00}"/>
              </a:ext>
            </a:extLst>
          </p:cNvPr>
          <p:cNvGraphicFramePr>
            <a:graphicFrameLocks noGrp="1"/>
          </p:cNvGraphicFramePr>
          <p:nvPr/>
        </p:nvGraphicFramePr>
        <p:xfrm>
          <a:off x="332879" y="1095463"/>
          <a:ext cx="11526236" cy="5471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26219">
                  <a:extLst>
                    <a:ext uri="{9D8B030D-6E8A-4147-A177-3AD203B41FA5}">
                      <a16:colId xmlns:a16="http://schemas.microsoft.com/office/drawing/2014/main" val="1116675463"/>
                    </a:ext>
                  </a:extLst>
                </a:gridCol>
                <a:gridCol w="2093790">
                  <a:extLst>
                    <a:ext uri="{9D8B030D-6E8A-4147-A177-3AD203B41FA5}">
                      <a16:colId xmlns:a16="http://schemas.microsoft.com/office/drawing/2014/main" val="1729889060"/>
                    </a:ext>
                  </a:extLst>
                </a:gridCol>
                <a:gridCol w="896960">
                  <a:extLst>
                    <a:ext uri="{9D8B030D-6E8A-4147-A177-3AD203B41FA5}">
                      <a16:colId xmlns:a16="http://schemas.microsoft.com/office/drawing/2014/main" val="4199591958"/>
                    </a:ext>
                  </a:extLst>
                </a:gridCol>
                <a:gridCol w="1261806">
                  <a:extLst>
                    <a:ext uri="{9D8B030D-6E8A-4147-A177-3AD203B41FA5}">
                      <a16:colId xmlns:a16="http://schemas.microsoft.com/office/drawing/2014/main" val="684020109"/>
                    </a:ext>
                  </a:extLst>
                </a:gridCol>
                <a:gridCol w="1019032">
                  <a:extLst>
                    <a:ext uri="{9D8B030D-6E8A-4147-A177-3AD203B41FA5}">
                      <a16:colId xmlns:a16="http://schemas.microsoft.com/office/drawing/2014/main" val="1388642082"/>
                    </a:ext>
                  </a:extLst>
                </a:gridCol>
                <a:gridCol w="1229030">
                  <a:extLst>
                    <a:ext uri="{9D8B030D-6E8A-4147-A177-3AD203B41FA5}">
                      <a16:colId xmlns:a16="http://schemas.microsoft.com/office/drawing/2014/main" val="996352853"/>
                    </a:ext>
                  </a:extLst>
                </a:gridCol>
                <a:gridCol w="1154783">
                  <a:extLst>
                    <a:ext uri="{9D8B030D-6E8A-4147-A177-3AD203B41FA5}">
                      <a16:colId xmlns:a16="http://schemas.microsoft.com/office/drawing/2014/main" val="4292891180"/>
                    </a:ext>
                  </a:extLst>
                </a:gridCol>
                <a:gridCol w="2544616">
                  <a:extLst>
                    <a:ext uri="{9D8B030D-6E8A-4147-A177-3AD203B41FA5}">
                      <a16:colId xmlns:a16="http://schemas.microsoft.com/office/drawing/2014/main" val="26062890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rgbClr val="00B050"/>
                          </a:solidFill>
                          <a:latin typeface="Arial"/>
                          <a:cs typeface="Arial"/>
                        </a:rPr>
                        <a:t>Вступительная сессия</a:t>
                      </a:r>
                    </a:p>
                    <a:p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09:00–09:25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 </a:t>
                      </a:r>
                    </a:p>
                    <a:p>
                      <a:endParaRPr lang="en-US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Вступительное слово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600" b="1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Приветственные речи</a:t>
                      </a:r>
                      <a:endParaRPr lang="en-US" sz="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3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Групповое фото ГД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794439"/>
                  </a:ext>
                </a:extLst>
              </a:tr>
              <a:tr h="98781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09:00–09:25 </a:t>
                      </a:r>
                    </a:p>
                    <a:p>
                      <a:endParaRPr lang="en-US" sz="11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09:00–09:05 </a:t>
                      </a:r>
                      <a:endParaRPr lang="en-US" sz="1200" b="1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  <a:p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Г-н Леван Давиташвили</a:t>
                      </a:r>
                      <a:endParaRPr lang="en-US" sz="1200" b="1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Вице-премьер, </a:t>
                      </a: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Министр экономики и устойчивого развития Грузии</a:t>
                      </a:r>
                      <a:endParaRPr lang="en-US" sz="1200" dirty="0">
                        <a:latin typeface="Arial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09:05–09:15 </a:t>
                      </a:r>
                      <a:endParaRPr lang="en-US" sz="1200" b="1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0" algn="l" rtl="0" eaLnBrk="1" latinLnBrk="0" hangingPunct="1"/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Г-н Ираклий </a:t>
                      </a:r>
                      <a:r>
                        <a:rPr lang="ru-RU" sz="1200" b="1" kern="1200" dirty="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Гарибашвили</a:t>
                      </a:r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0" algn="l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Премьер-министр Грузии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 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 kern="120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09:15–09:25 </a:t>
                      </a:r>
                      <a:endParaRPr lang="en-US" sz="1200" b="1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Г-н </a:t>
                      </a:r>
                      <a:r>
                        <a:rPr lang="ru-RU" sz="1200" b="1" kern="1200" dirty="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Масацугу</a:t>
                      </a:r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Асакава</a:t>
                      </a:r>
                      <a:endParaRPr lang="en-US" sz="1200" b="1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Президент Азиатского банка развития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 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 kern="120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09:25–09:30 </a:t>
                      </a:r>
                    </a:p>
                    <a:p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highlight>
                            <a:srgbClr val="FFFF00"/>
                          </a:highlight>
                          <a:latin typeface="Arial"/>
                          <a:ea typeface="+mn-ea"/>
                          <a:cs typeface="Arial"/>
                        </a:rPr>
                        <a:t>Главы делегаций</a:t>
                      </a:r>
                      <a:endParaRPr lang="en-US" sz="1200" b="1" kern="1200" dirty="0">
                        <a:solidFill>
                          <a:schemeClr val="dk1"/>
                        </a:solidFill>
                        <a:effectLst/>
                        <a:highlight>
                          <a:srgbClr val="FFFF00"/>
                        </a:highlight>
                        <a:latin typeface="Arial"/>
                        <a:ea typeface="+mn-ea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0613337"/>
                  </a:ext>
                </a:extLst>
              </a:tr>
              <a:tr h="152367">
                <a:tc>
                  <a:txBody>
                    <a:bodyPr/>
                    <a:lstStyle/>
                    <a:p>
                      <a:endParaRPr lang="en-US" sz="11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7">
                  <a:txBody>
                    <a:bodyPr/>
                    <a:lstStyle/>
                    <a:p>
                      <a:endParaRPr lang="en-US" sz="1100" b="1" kern="120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8832756"/>
                  </a:ext>
                </a:extLst>
              </a:tr>
              <a:tr h="170586">
                <a:tc rowSpan="3"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rgbClr val="00B050"/>
                          </a:solidFill>
                          <a:latin typeface="Arial"/>
                          <a:cs typeface="Arial"/>
                        </a:rPr>
                        <a:t>Сессия</a:t>
                      </a:r>
                      <a:r>
                        <a:rPr lang="en-US" sz="1600" b="1" dirty="0">
                          <a:solidFill>
                            <a:srgbClr val="00B050"/>
                          </a:solidFill>
                          <a:latin typeface="Arial"/>
                          <a:cs typeface="Arial"/>
                        </a:rPr>
                        <a:t> 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09:50–12:3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7">
                  <a:txBody>
                    <a:bodyPr/>
                    <a:lstStyle/>
                    <a:p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Видение ЦАРЭС в области изменения климата и другие ключевые результаты реализации стратегии ЦАРЭС до 2030 г.</a:t>
                      </a:r>
                      <a:endParaRPr lang="en-US" sz="14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6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ynote Address</a:t>
                      </a:r>
                    </a:p>
                    <a:p>
                      <a:endParaRPr lang="en-US" sz="3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9:05–09:15 </a:t>
                      </a:r>
                    </a:p>
                  </a:txBody>
                  <a:tcPr>
                    <a:lnL w="12700" cmpd="sng">
                      <a:noFill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3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000" kern="120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9:15–09:25 </a:t>
                      </a:r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0157256"/>
                  </a:ext>
                </a:extLst>
              </a:tr>
              <a:tr h="1053514">
                <a:tc vMerge="1">
                  <a:txBody>
                    <a:bodyPr/>
                    <a:lstStyle/>
                    <a:p>
                      <a:endParaRPr lang="en-US" sz="11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latin typeface="Arial"/>
                          <a:cs typeface="Arial"/>
                        </a:rPr>
                        <a:t>Глобальные и региональные перспективы и экономические последствия изменения климата в Центральной Азии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b="1" dirty="0">
                          <a:latin typeface="Arial"/>
                          <a:cs typeface="Arial"/>
                        </a:rPr>
                        <a:t>Ход реализации стратегии ЦАРЭС до 2030 г.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100" b="1">
                          <a:latin typeface="Arial"/>
                          <a:cs typeface="Arial"/>
                        </a:rPr>
                        <a:t>CAREC 2030 Implementation Progress</a:t>
                      </a:r>
                    </a:p>
                    <a:p>
                      <a:endParaRPr lang="en-US" sz="11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1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11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0:20–10:30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1200" b="1" dirty="0">
                          <a:latin typeface="Arial"/>
                          <a:cs typeface="Arial"/>
                        </a:rPr>
                        <a:t>Предлагаемое видение в области изменения климата ЦАРЭС и Фонд подготовки проектов в области климату и устойчивости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bg1"/>
                      </a:solidFill>
                    </a:lnR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>
                          <a:latin typeface="Arial"/>
                          <a:cs typeface="Arial"/>
                        </a:rPr>
                        <a:t>Proposed CAREC Climate Change Vision and Climate and Sustainability Project Preparatory Fund </a:t>
                      </a:r>
                      <a:endParaRPr lang="en-US" sz="11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0:30–10:40</a:t>
                      </a:r>
                      <a:endParaRPr lang="en-US" sz="1000" b="1"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latin typeface="Arial"/>
                          <a:cs typeface="Arial"/>
                        </a:rPr>
                        <a:t>Заявления стран и выступления партнеров по развитию</a:t>
                      </a:r>
                      <a:endParaRPr lang="en-US" sz="1200" b="1" dirty="0"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>
                          <a:latin typeface="Arial"/>
                          <a:cs typeface="Arial"/>
                        </a:rPr>
                        <a:t>Country Statements and Development Partners Intervention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0:40–12:30</a:t>
                      </a:r>
                      <a:endParaRPr lang="en-US" sz="1000" b="1">
                        <a:latin typeface="Arial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8640864"/>
                  </a:ext>
                </a:extLst>
              </a:tr>
              <a:tr h="638216">
                <a:tc vMerge="1">
                  <a:txBody>
                    <a:bodyPr/>
                    <a:lstStyle/>
                    <a:p>
                      <a:endParaRPr lang="en-US" sz="11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Модератор</a:t>
                      </a: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: </a:t>
                      </a:r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Г-жа М. Тереза </a:t>
                      </a:r>
                      <a:r>
                        <a:rPr lang="ru-RU" sz="1200" b="1" kern="1200" dirty="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Кхо</a:t>
                      </a:r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 </a:t>
                      </a:r>
                    </a:p>
                    <a:p>
                      <a:r>
                        <a:rPr lang="ru-RU" sz="1200" b="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Генеральный директор, Департамент Восточной Азии, АБР</a:t>
                      </a: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 </a:t>
                      </a:r>
                      <a:endParaRPr lang="en-US" sz="1200" b="1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Модератор</a:t>
                      </a: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: </a:t>
                      </a:r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Г-н </a:t>
                      </a:r>
                      <a:r>
                        <a:rPr lang="ru-RU" sz="1200" b="1" kern="1200" dirty="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Шиксин</a:t>
                      </a:r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lang="ru-RU" sz="1200" b="1" kern="1200" dirty="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Чен</a:t>
                      </a:r>
                      <a:endParaRPr lang="en-US" sz="1200" b="1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Вице-президент (Южная, Центральная и Западная Азия), АБР 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 </a:t>
                      </a:r>
                    </a:p>
                  </a:txBody>
                  <a:tcPr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380096"/>
                  </a:ext>
                </a:extLst>
              </a:tr>
              <a:tr h="1053667">
                <a:tc>
                  <a:txBody>
                    <a:bodyPr/>
                    <a:lstStyle/>
                    <a:p>
                      <a:endParaRPr lang="en-US" sz="105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09:50–10:20</a:t>
                      </a:r>
                      <a:endParaRPr lang="en-US" sz="1200" b="1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Секретариат МВФ </a:t>
                      </a:r>
                      <a:r>
                        <a:rPr lang="ru-RU" sz="1200" b="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и</a:t>
                      </a:r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ВТО</a:t>
                      </a: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  [</a:t>
                      </a:r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уточняется</a:t>
                      </a: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]</a:t>
                      </a:r>
                      <a:endParaRPr lang="en-US" sz="1200" b="1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0:20–10:30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Г-жа Лязиза Сабырова </a:t>
                      </a: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Региональный руководитель, региональное сотрудничество и интеграция, 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CWRD, 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АБР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400" b="1" kern="120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Ms. </a:t>
                      </a:r>
                      <a:r>
                        <a:rPr lang="en-US" sz="1400" b="1" kern="120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Lyaziza</a:t>
                      </a:r>
                      <a:r>
                        <a:rPr lang="en-US" sz="1400" b="1" kern="120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Sabyrova 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kern="120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Regional Head, Regional Cooperation and Integration, CWRD, ADB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0:30–10:40</a:t>
                      </a:r>
                      <a:endParaRPr lang="en-US" sz="1600" dirty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Г-жа Лязиза Сабырова </a:t>
                      </a: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Региональный руководитель, региональное сотрудничество и интеграция, 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CWRD, 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АБР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bg1"/>
                      </a:solidFill>
                    </a:lnR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400" b="1" kern="120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Ms. </a:t>
                      </a:r>
                      <a:r>
                        <a:rPr lang="en-US" sz="1400" b="1" kern="120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Lyaziza</a:t>
                      </a:r>
                      <a:r>
                        <a:rPr lang="en-US" sz="1000" kern="120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lang="en-US" sz="1400" b="1" kern="120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Sabyrova</a:t>
                      </a:r>
                      <a:r>
                        <a:rPr lang="en-US" sz="1000" kern="120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kern="120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Regional Head, Regional Cooperation and Integration, CWRD, ADB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0:40–12:3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highlight>
                            <a:srgbClr val="FFFF00"/>
                          </a:highlight>
                          <a:latin typeface="Arial"/>
                          <a:ea typeface="+mn-ea"/>
                          <a:cs typeface="Arial"/>
                        </a:rPr>
                        <a:t>Главы делегаций</a:t>
                      </a: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highlight>
                            <a:srgbClr val="FFFF00"/>
                          </a:highlight>
                          <a:latin typeface="Arial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(</a:t>
                      </a:r>
                      <a:r>
                        <a:rPr lang="ru-RU" sz="1200" b="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4-минутное выступление</a:t>
                      </a: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)</a:t>
                      </a:r>
                      <a:endParaRPr lang="en-US" sz="1200" b="1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Moderator: Mr. </a:t>
                      </a:r>
                      <a:r>
                        <a:rPr lang="en-US" sz="1400" b="1" kern="120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Shixin</a:t>
                      </a:r>
                      <a:r>
                        <a:rPr lang="en-US" sz="1400" b="1" kern="120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Chen</a:t>
                      </a:r>
                      <a:endParaRPr lang="en-US" sz="1100" b="1" kern="120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Vice-President (South, Central and West Asia), ADB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20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dk1"/>
                          </a:solidFill>
                          <a:effectLst/>
                          <a:highlight>
                            <a:srgbClr val="FFFF00"/>
                          </a:highlight>
                          <a:latin typeface="Arial"/>
                          <a:ea typeface="+mn-ea"/>
                          <a:cs typeface="Arial"/>
                        </a:rPr>
                        <a:t>Heads of Delegation </a:t>
                      </a:r>
                      <a:endParaRPr lang="en-US" sz="1200" b="1" kern="1200">
                        <a:solidFill>
                          <a:schemeClr val="dk1"/>
                        </a:solidFill>
                        <a:effectLst/>
                        <a:highlight>
                          <a:srgbClr val="FFFF00"/>
                        </a:highlight>
                        <a:latin typeface="Arial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(4 mins intervention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84496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222226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00EB971-2B00-087A-1457-7BB26300B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229" y="98165"/>
            <a:ext cx="10515600" cy="610495"/>
          </a:xfrm>
        </p:spPr>
        <p:txBody>
          <a:bodyPr>
            <a:noAutofit/>
          </a:bodyPr>
          <a:lstStyle/>
          <a:p>
            <a:r>
              <a:rPr lang="ru-RU" sz="3600" b="1" dirty="0">
                <a:latin typeface="Arial" panose="020B0604020202020204" pitchFamily="34" charset="0"/>
                <a:cs typeface="Arial" panose="020B0604020202020204" pitchFamily="34" charset="0"/>
              </a:rPr>
              <a:t>Повестка дня 22ой МК 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вторая половина дня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A344AB9A-8F72-D5E2-750E-E635F4757F00}"/>
              </a:ext>
            </a:extLst>
          </p:cNvPr>
          <p:cNvGraphicFramePr>
            <a:graphicFrameLocks noGrp="1"/>
          </p:cNvGraphicFramePr>
          <p:nvPr/>
        </p:nvGraphicFramePr>
        <p:xfrm>
          <a:off x="278296" y="810563"/>
          <a:ext cx="11530846" cy="333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64974">
                  <a:extLst>
                    <a:ext uri="{9D8B030D-6E8A-4147-A177-3AD203B41FA5}">
                      <a16:colId xmlns:a16="http://schemas.microsoft.com/office/drawing/2014/main" val="1116675463"/>
                    </a:ext>
                  </a:extLst>
                </a:gridCol>
                <a:gridCol w="5110107">
                  <a:extLst>
                    <a:ext uri="{9D8B030D-6E8A-4147-A177-3AD203B41FA5}">
                      <a16:colId xmlns:a16="http://schemas.microsoft.com/office/drawing/2014/main" val="1729889060"/>
                    </a:ext>
                  </a:extLst>
                </a:gridCol>
                <a:gridCol w="5055765">
                  <a:extLst>
                    <a:ext uri="{9D8B030D-6E8A-4147-A177-3AD203B41FA5}">
                      <a16:colId xmlns:a16="http://schemas.microsoft.com/office/drawing/2014/main" val="996352853"/>
                    </a:ext>
                  </a:extLst>
                </a:gridCol>
              </a:tblGrid>
              <a:tr h="373440">
                <a:tc rowSpan="2">
                  <a:txBody>
                    <a:bodyPr/>
                    <a:lstStyle/>
                    <a:p>
                      <a:r>
                        <a:rPr lang="ru-RU" sz="1800" b="1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ссия</a:t>
                      </a:r>
                      <a:r>
                        <a:rPr lang="en-US" sz="1800" b="1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4:00–15:30 </a:t>
                      </a:r>
                    </a:p>
                    <a:p>
                      <a:endParaRPr lang="en-US" sz="18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6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еориентация торговых потоков и альтернативные маршруты в регионе ЦАРЭС</a:t>
                      </a:r>
                      <a:endParaRPr lang="en-US" sz="16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3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000" kern="120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9:15–09:25 </a:t>
                      </a:r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010157256"/>
                  </a:ext>
                </a:extLst>
              </a:tr>
              <a:tr h="429141">
                <a:tc vMerge="1">
                  <a:txBody>
                    <a:bodyPr/>
                    <a:lstStyle/>
                    <a:p>
                      <a:endParaRPr lang="en-US" sz="11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400" b="1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одератор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: </a:t>
                      </a:r>
                      <a:r>
                        <a:rPr lang="ru-RU" sz="1400" b="1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-н Евгений </a:t>
                      </a:r>
                      <a:r>
                        <a:rPr lang="ru-RU" sz="1400" b="1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уклв</a:t>
                      </a:r>
                      <a:endParaRPr lang="en-US" sz="1400" b="1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  <a:p>
                      <a:r>
                        <a:rPr lang="ru-RU" sz="1400" b="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Генеральный директор Департамента Центральной и Западной Азии (</a:t>
                      </a:r>
                      <a:r>
                        <a:rPr lang="en-US" sz="1400" b="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CWRD), </a:t>
                      </a:r>
                      <a:r>
                        <a:rPr lang="ru-RU" sz="1400" b="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АБР</a:t>
                      </a:r>
                      <a:endParaRPr lang="en-US" sz="1400" b="0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308055"/>
                  </a:ext>
                </a:extLst>
              </a:tr>
              <a:tr h="1928479">
                <a:tc>
                  <a:txBody>
                    <a:bodyPr/>
                    <a:lstStyle/>
                    <a:p>
                      <a:endParaRPr lang="en-US" sz="11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зентация по исследованию в рамках программы ЦАРЭС: Переориентация торговых потоков в условиях внешних потрясений, а также альтернативные транспортные и транзитные маршруты в регионе ЦАРЭС</a:t>
                      </a:r>
                      <a:endParaRPr lang="en-US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4:00–14:2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-н Роман Могилевский</a:t>
                      </a:r>
                      <a:endParaRPr lang="en-US" sz="1400" b="1" dirty="0">
                        <a:latin typeface="Arial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Arial"/>
                          <a:cs typeface="Arial"/>
                        </a:rPr>
                        <a:t>Старший экономист, Отдел регионального сотрудничества и интеграции, </a:t>
                      </a:r>
                      <a:r>
                        <a:rPr lang="en-US" sz="1400" b="0" dirty="0">
                          <a:latin typeface="Arial"/>
                          <a:cs typeface="Arial"/>
                        </a:rPr>
                        <a:t>CWRD, </a:t>
                      </a:r>
                      <a:r>
                        <a:rPr lang="ru-RU" sz="1400" b="0" dirty="0">
                          <a:latin typeface="Arial"/>
                          <a:cs typeface="Arial"/>
                        </a:rPr>
                        <a:t>АБР</a:t>
                      </a:r>
                      <a:endParaRPr lang="en-US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крытые обсуждения</a:t>
                      </a:r>
                      <a:endParaRPr lang="en-US" sz="1400" b="1" dirty="0">
                        <a:latin typeface="Arial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4:20–15:3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Всемирный банк [уточняется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]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ЕБРР [уточняется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]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Транскаспийский</a:t>
                      </a:r>
                      <a:r>
                        <a:rPr lang="ru-RU" sz="14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Международный Транспортный Маршрут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Представители частного сектора [уточняется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]</a:t>
                      </a:r>
                      <a:endParaRPr lang="en-US" sz="1400" b="1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dk1"/>
                          </a:solidFill>
                          <a:effectLst/>
                          <a:highlight>
                            <a:srgbClr val="FFFF00"/>
                          </a:highlight>
                          <a:latin typeface="Arial"/>
                          <a:ea typeface="+mn-ea"/>
                          <a:cs typeface="Arial"/>
                        </a:rPr>
                        <a:t>Делегаты из стран и другие партнеры по развитию могут выступить с комментариями (по желанию).</a:t>
                      </a:r>
                      <a:endParaRPr lang="en-US" sz="1400" b="1" kern="1200" dirty="0">
                        <a:solidFill>
                          <a:schemeClr val="dk1"/>
                        </a:solidFill>
                        <a:effectLst/>
                        <a:highlight>
                          <a:srgbClr val="FFFF00"/>
                        </a:highlight>
                        <a:latin typeface="Arial"/>
                        <a:ea typeface="+mn-ea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8640864"/>
                  </a:ext>
                </a:extLst>
              </a:tr>
            </a:tbl>
          </a:graphicData>
        </a:graphic>
      </p:graphicFrame>
      <p:graphicFrame>
        <p:nvGraphicFramePr>
          <p:cNvPr id="6" name="Table 2">
            <a:extLst>
              <a:ext uri="{FF2B5EF4-FFF2-40B4-BE49-F238E27FC236}">
                <a16:creationId xmlns:a16="http://schemas.microsoft.com/office/drawing/2014/main" id="{364F3B1E-B577-C13B-5BAB-B7FB37DBBC5C}"/>
              </a:ext>
            </a:extLst>
          </p:cNvPr>
          <p:cNvGraphicFramePr>
            <a:graphicFrameLocks noGrp="1"/>
          </p:cNvGraphicFramePr>
          <p:nvPr/>
        </p:nvGraphicFramePr>
        <p:xfrm>
          <a:off x="172277" y="4242466"/>
          <a:ext cx="11636865" cy="29893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57738">
                  <a:extLst>
                    <a:ext uri="{9D8B030D-6E8A-4147-A177-3AD203B41FA5}">
                      <a16:colId xmlns:a16="http://schemas.microsoft.com/office/drawing/2014/main" val="1116675463"/>
                    </a:ext>
                  </a:extLst>
                </a:gridCol>
                <a:gridCol w="2525752">
                  <a:extLst>
                    <a:ext uri="{9D8B030D-6E8A-4147-A177-3AD203B41FA5}">
                      <a16:colId xmlns:a16="http://schemas.microsoft.com/office/drawing/2014/main" val="1729889060"/>
                    </a:ext>
                  </a:extLst>
                </a:gridCol>
                <a:gridCol w="2417309">
                  <a:extLst>
                    <a:ext uri="{9D8B030D-6E8A-4147-A177-3AD203B41FA5}">
                      <a16:colId xmlns:a16="http://schemas.microsoft.com/office/drawing/2014/main" val="684020109"/>
                    </a:ext>
                  </a:extLst>
                </a:gridCol>
                <a:gridCol w="2684941">
                  <a:extLst>
                    <a:ext uri="{9D8B030D-6E8A-4147-A177-3AD203B41FA5}">
                      <a16:colId xmlns:a16="http://schemas.microsoft.com/office/drawing/2014/main" val="996352853"/>
                    </a:ext>
                  </a:extLst>
                </a:gridCol>
                <a:gridCol w="2551125">
                  <a:extLst>
                    <a:ext uri="{9D8B030D-6E8A-4147-A177-3AD203B41FA5}">
                      <a16:colId xmlns:a16="http://schemas.microsoft.com/office/drawing/2014/main" val="26062890"/>
                    </a:ext>
                  </a:extLst>
                </a:gridCol>
              </a:tblGrid>
              <a:tr h="354323">
                <a:tc rowSpan="3">
                  <a:txBody>
                    <a:bodyPr/>
                    <a:lstStyle/>
                    <a:p>
                      <a:r>
                        <a:rPr lang="ru-RU" sz="1800" b="1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ключительная сессия</a:t>
                      </a:r>
                    </a:p>
                    <a:p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5:50–16:25 </a:t>
                      </a:r>
                    </a:p>
                    <a:p>
                      <a:endParaRPr lang="en-US" sz="18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нятие Совместного заявления министров </a:t>
                      </a:r>
                      <a:endParaRPr lang="en-US" sz="300" b="1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явление страны-председателя ЦАРЭС 2024 года</a:t>
                      </a:r>
                      <a:endParaRPr lang="en-US" sz="3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ключительное слово 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sz="3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1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ржественный прием</a:t>
                      </a:r>
                      <a:endParaRPr lang="en-US" sz="1600" b="1" i="1" u="non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794439"/>
                  </a:ext>
                </a:extLst>
              </a:tr>
              <a:tr h="789642">
                <a:tc vMerge="1">
                  <a:txBody>
                    <a:bodyPr/>
                    <a:lstStyle/>
                    <a:p>
                      <a:endParaRPr lang="en-US" sz="11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5:50–16:05 </a:t>
                      </a:r>
                      <a:endParaRPr lang="en-US" sz="1400" b="1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  <a:p>
                      <a:r>
                        <a:rPr lang="ru-RU" sz="1400" b="1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Г-н Леван Давиташвили</a:t>
                      </a:r>
                      <a:endParaRPr lang="en-US" sz="1400" b="1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  <a:p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Вице-премьер, </a:t>
                      </a:r>
                    </a:p>
                    <a:p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Министр экономики и устойчивого развития Грузии</a:t>
                      </a:r>
                      <a:endParaRPr lang="en-US" sz="1400" dirty="0">
                        <a:latin typeface="Arial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6:05–16:10</a:t>
                      </a:r>
                    </a:p>
                    <a:p>
                      <a:pPr marL="0" algn="l" rtl="0" eaLnBrk="1" latinLnBrk="0" hangingPunct="1"/>
                      <a:endParaRPr lang="en-US" sz="1400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  <a:p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Высокопоставленное должностное лицо или Национальный координатор (НК) ЦАРЭС из Казахстана</a:t>
                      </a:r>
                      <a:endParaRPr lang="en-US" sz="1400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6:10–16:25</a:t>
                      </a:r>
                      <a:endParaRPr lang="en-US" sz="1400" b="1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-н Геннадий Арвеладзе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Заместитель министра, Министерство экономики и устойчивого развития и НК ЦАРЭС, Грузия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 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9:00–21:00</a:t>
                      </a:r>
                    </a:p>
                    <a:p>
                      <a:r>
                        <a:rPr lang="ru-RU" sz="1400" b="1" kern="1200" dirty="0">
                          <a:solidFill>
                            <a:schemeClr val="dk1"/>
                          </a:solidFill>
                          <a:effectLst/>
                          <a:highlight>
                            <a:srgbClr val="FFFF00"/>
                          </a:highlight>
                          <a:latin typeface="Arial"/>
                          <a:ea typeface="+mn-ea"/>
                          <a:cs typeface="Arial"/>
                        </a:rPr>
                        <a:t>Приглашаются делегаты от стран и партнеры по развитию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highlight>
                            <a:srgbClr val="FFFF00"/>
                          </a:highlight>
                          <a:latin typeface="Arial"/>
                          <a:ea typeface="+mn-ea"/>
                          <a:cs typeface="Arial"/>
                        </a:rPr>
                        <a:t> </a:t>
                      </a:r>
                    </a:p>
                    <a:p>
                      <a:endParaRPr lang="en-US" sz="1400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Принимающая сторона – правительство Грузии</a:t>
                      </a:r>
                      <a:endParaRPr lang="en-US" sz="1400" b="1" i="0" u="none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0613337"/>
                  </a:ext>
                </a:extLst>
              </a:tr>
              <a:tr h="581436">
                <a:tc vMerge="1">
                  <a:txBody>
                    <a:bodyPr/>
                    <a:lstStyle/>
                    <a:p>
                      <a:endParaRPr lang="en-US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endParaRPr lang="en-US" sz="1400" b="1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T w="127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88327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106465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944F97D-7F10-D404-B761-F5B8446BC7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224" y="225469"/>
            <a:ext cx="10515600" cy="1129553"/>
          </a:xfrm>
        </p:spPr>
        <p:txBody>
          <a:bodyPr>
            <a:normAutofit/>
          </a:bodyPr>
          <a:lstStyle/>
          <a:p>
            <a:r>
              <a:rPr lang="ru-RU" sz="3600" b="1" dirty="0">
                <a:latin typeface="Arial" panose="020B0604020202020204" pitchFamily="34" charset="0"/>
                <a:cs typeface="Arial" panose="020B0604020202020204" pitchFamily="34" charset="0"/>
              </a:rPr>
              <a:t>Основные результаты и документы</a:t>
            </a:r>
            <a:endParaRPr lang="en-PH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Table 2">
            <a:extLst>
              <a:ext uri="{FF2B5EF4-FFF2-40B4-BE49-F238E27FC236}">
                <a16:creationId xmlns:a16="http://schemas.microsoft.com/office/drawing/2014/main" id="{42E99D49-CB88-8529-AE4E-D6F1227CF945}"/>
              </a:ext>
            </a:extLst>
          </p:cNvPr>
          <p:cNvGraphicFramePr>
            <a:graphicFrameLocks noGrp="1"/>
          </p:cNvGraphicFramePr>
          <p:nvPr/>
        </p:nvGraphicFramePr>
        <p:xfrm>
          <a:off x="1002082" y="1300631"/>
          <a:ext cx="10308920" cy="1066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6857">
                  <a:extLst>
                    <a:ext uri="{9D8B030D-6E8A-4147-A177-3AD203B41FA5}">
                      <a16:colId xmlns:a16="http://schemas.microsoft.com/office/drawing/2014/main" val="1116675463"/>
                    </a:ext>
                  </a:extLst>
                </a:gridCol>
                <a:gridCol w="8422063">
                  <a:extLst>
                    <a:ext uri="{9D8B030D-6E8A-4147-A177-3AD203B41FA5}">
                      <a16:colId xmlns:a16="http://schemas.microsoft.com/office/drawing/2014/main" val="1729889060"/>
                    </a:ext>
                  </a:extLst>
                </a:gridCol>
              </a:tblGrid>
              <a:tr h="1034484"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rgbClr val="00B050"/>
                          </a:solidFill>
                          <a:latin typeface="Arial"/>
                          <a:cs typeface="Arial"/>
                        </a:rPr>
                        <a:t>Документы для одобрения на уровне министров</a:t>
                      </a:r>
                      <a:endParaRPr lang="en-US" sz="1600" b="1" dirty="0">
                        <a:solidFill>
                          <a:srgbClr val="00B05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Видение в области изменения климата ЦАРЭС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Arial"/>
                        <a:ea typeface="Calibri"/>
                        <a:cs typeface="Arial"/>
                      </a:endParaRPr>
                    </a:p>
                    <a:p>
                      <a:pPr marL="0" lvl="0" indent="0">
                        <a:buFontTx/>
                        <a:buNone/>
                      </a:pPr>
                      <a:endParaRPr lang="en-US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/>
                          <a:ea typeface="Calibri"/>
                          <a:cs typeface="Arial"/>
                        </a:rPr>
                        <a:t>22-е Совместное министерское заявление МК ЦАРЭС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Arial"/>
                          <a:ea typeface="Calibri"/>
                          <a:cs typeface="Arial"/>
                        </a:rPr>
                        <a:t> 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0157256"/>
                  </a:ext>
                </a:extLst>
              </a:tr>
            </a:tbl>
          </a:graphicData>
        </a:graphic>
      </p:graphicFrame>
      <p:graphicFrame>
        <p:nvGraphicFramePr>
          <p:cNvPr id="8" name="Table 2">
            <a:extLst>
              <a:ext uri="{FF2B5EF4-FFF2-40B4-BE49-F238E27FC236}">
                <a16:creationId xmlns:a16="http://schemas.microsoft.com/office/drawing/2014/main" id="{79CAEAC4-804A-6B12-5994-CD060A7F5C4C}"/>
              </a:ext>
            </a:extLst>
          </p:cNvPr>
          <p:cNvGraphicFramePr>
            <a:graphicFrameLocks noGrp="1"/>
          </p:cNvGraphicFramePr>
          <p:nvPr/>
        </p:nvGraphicFramePr>
        <p:xfrm>
          <a:off x="1002082" y="2579787"/>
          <a:ext cx="10292531" cy="37185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96101">
                  <a:extLst>
                    <a:ext uri="{9D8B030D-6E8A-4147-A177-3AD203B41FA5}">
                      <a16:colId xmlns:a16="http://schemas.microsoft.com/office/drawing/2014/main" val="1116675463"/>
                    </a:ext>
                  </a:extLst>
                </a:gridCol>
                <a:gridCol w="8396430">
                  <a:extLst>
                    <a:ext uri="{9D8B030D-6E8A-4147-A177-3AD203B41FA5}">
                      <a16:colId xmlns:a16="http://schemas.microsoft.com/office/drawing/2014/main" val="1729889060"/>
                    </a:ext>
                  </a:extLst>
                </a:gridCol>
              </a:tblGrid>
              <a:tr h="2011231"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rgbClr val="00B050"/>
                          </a:solidFill>
                          <a:latin typeface="Arial"/>
                          <a:cs typeface="Arial"/>
                        </a:rPr>
                        <a:t>Другие результаты</a:t>
                      </a:r>
                      <a:endParaRPr lang="en-US" sz="1600" b="1" dirty="0">
                        <a:solidFill>
                          <a:srgbClr val="00B05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Концептуальная записка для Фонда ЦАРЭС по подготовке проектов в области климата и устойчивости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  <a:p>
                      <a:pPr marL="285750" marR="0" lvl="0" indent="-285750" algn="l" defTabSz="914400"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  <a:p>
                      <a:pPr marL="285750" lvl="0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ru-RU" sz="1400" b="1" kern="120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Совместное заявление о разработке механизма передачи рисков стихийных бедствий в регионе ЦАРЭС</a:t>
                      </a:r>
                      <a:endParaRPr lang="en-US" sz="1400" b="1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Исследование по переориентации торговых потоков в условиях внешних потрясений и альтернативных транзитных и транспортных маршрутов в регионе ЦАРЭС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Arial"/>
                        <a:ea typeface="Calibri"/>
                        <a:cs typeface="Arial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Энергетический инвестиционный форум ЦАРЭС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endParaRPr lang="ru-RU" sz="1400" b="1" dirty="0">
                        <a:solidFill>
                          <a:schemeClr val="tx1"/>
                        </a:solidFill>
                        <a:latin typeface="Arial"/>
                        <a:ea typeface="Calibri"/>
                        <a:cs typeface="Arial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Туристический портал ЦАРЭС </a:t>
                      </a:r>
                      <a:r>
                        <a:rPr lang="en-US" sz="1400" b="1" i="1" dirty="0" err="1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VisitSilkRoad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Arial"/>
                        <a:ea typeface="Calibri"/>
                        <a:cs typeface="Arial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Премия ЦАРЭС за продвижение гендерного равенства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Arial"/>
                        <a:ea typeface="Calibri"/>
                        <a:cs typeface="Arial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endParaRPr lang="ru-RU" sz="1400" b="1" dirty="0">
                        <a:solidFill>
                          <a:schemeClr val="tx1"/>
                        </a:solidFill>
                        <a:latin typeface="Arial"/>
                        <a:ea typeface="Calibri"/>
                        <a:cs typeface="Arial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Отчет о ходе реализации стратегии ЦАРЭС до 2030 года, включая продукты знаний и мероприятия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Arial"/>
                        <a:ea typeface="Calibri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01572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525628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944F97D-7F10-D404-B761-F5B8446BC7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224" y="225469"/>
            <a:ext cx="10515600" cy="1129553"/>
          </a:xfrm>
        </p:spPr>
        <p:txBody>
          <a:bodyPr>
            <a:normAutofit fontScale="90000"/>
          </a:bodyPr>
          <a:lstStyle/>
          <a:p>
            <a:r>
              <a:rPr lang="ru-RU" sz="3600" b="1" dirty="0">
                <a:latin typeface="Arial"/>
                <a:cs typeface="Arial"/>
              </a:rPr>
              <a:t>Основные положения Совместного заявления Министров 22-й Министерской конференции ЦАРЭС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B8D226-CBFB-3B82-D3CA-0996DE2455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6422" y="1459375"/>
            <a:ext cx="7964766" cy="5113973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pPr marL="0" indent="0">
              <a:buNone/>
            </a:pPr>
            <a:r>
              <a:rPr lang="ru-RU" sz="1900" i="1" dirty="0">
                <a:solidFill>
                  <a:srgbClr val="000000"/>
                </a:solidFill>
                <a:latin typeface="Arial"/>
                <a:ea typeface="+mn-lt"/>
                <a:cs typeface="+mn-lt"/>
              </a:rPr>
              <a:t>Тема: Активизация регионального сотрудничества в эпоху перемен</a:t>
            </a:r>
            <a:endParaRPr lang="en-PH" sz="1900" i="1" dirty="0">
              <a:solidFill>
                <a:srgbClr val="000000"/>
              </a:solidFill>
              <a:latin typeface="Arial"/>
              <a:ea typeface="+mn-lt"/>
              <a:cs typeface="+mn-lt"/>
            </a:endParaRPr>
          </a:p>
          <a:p>
            <a:pPr marL="0" indent="0">
              <a:buNone/>
            </a:pPr>
            <a:endParaRPr lang="en-PH" sz="1900" dirty="0">
              <a:solidFill>
                <a:srgbClr val="000000"/>
              </a:solidFill>
              <a:latin typeface="Arial"/>
              <a:ea typeface="+mn-lt"/>
              <a:cs typeface="+mn-lt"/>
            </a:endParaRPr>
          </a:p>
          <a:p>
            <a:pPr marL="0" indent="0">
              <a:buNone/>
            </a:pPr>
            <a:r>
              <a:rPr lang="ru-RU" sz="1900" dirty="0">
                <a:solidFill>
                  <a:srgbClr val="000000"/>
                </a:solidFill>
                <a:latin typeface="Arial"/>
                <a:ea typeface="+mn-lt"/>
                <a:cs typeface="+mn-lt"/>
              </a:rPr>
              <a:t>Проект СЗМ включает заявления для Министров, чтобы они </a:t>
            </a:r>
            <a:r>
              <a:rPr lang="en-PH" sz="1900" dirty="0">
                <a:solidFill>
                  <a:srgbClr val="000000"/>
                </a:solidFill>
                <a:latin typeface="Arial"/>
                <a:ea typeface="+mn-lt"/>
                <a:cs typeface="+mn-lt"/>
              </a:rPr>
              <a:t>: </a:t>
            </a:r>
          </a:p>
          <a:p>
            <a:r>
              <a:rPr lang="ru-RU" sz="1900" dirty="0">
                <a:solidFill>
                  <a:srgbClr val="000000"/>
                </a:solidFill>
                <a:latin typeface="Arial"/>
                <a:ea typeface="+mn-lt"/>
                <a:cs typeface="+mn-lt"/>
              </a:rPr>
              <a:t>Одобрили Видение ЦАРЭС в области изменения климата </a:t>
            </a:r>
          </a:p>
          <a:p>
            <a:r>
              <a:rPr lang="ru-RU" sz="1900" dirty="0">
                <a:solidFill>
                  <a:srgbClr val="000000"/>
                </a:solidFill>
                <a:latin typeface="Arial"/>
                <a:ea typeface="+mn-lt"/>
                <a:cs typeface="+mn-lt"/>
              </a:rPr>
              <a:t>Поддержали концепцию Фонда ЦАРЭС по подготовке проектов в области климата и устойчивости (ФППКУ) и были настроены на его создание в скором будущем </a:t>
            </a:r>
          </a:p>
          <a:p>
            <a:r>
              <a:rPr lang="ru-RU" sz="1900" dirty="0">
                <a:solidFill>
                  <a:srgbClr val="000000"/>
                </a:solidFill>
                <a:latin typeface="Arial"/>
                <a:ea typeface="+mn-lt"/>
                <a:cs typeface="+mn-lt"/>
              </a:rPr>
              <a:t>Отметили удовлетворительный прогресс в приоритетных секторах и сквозных темах ЦАРЭС. </a:t>
            </a:r>
          </a:p>
          <a:p>
            <a:r>
              <a:rPr lang="ru-RU" sz="1900" dirty="0">
                <a:solidFill>
                  <a:srgbClr val="000000"/>
                </a:solidFill>
                <a:latin typeface="Arial"/>
                <a:ea typeface="+mn-lt"/>
                <a:cs typeface="+mn-lt"/>
              </a:rPr>
              <a:t>Поддержали действия, изложенные в Совместном заявлении о разработке Фонда передачи риска стихийных бедствий в регионе ЦАРЭС</a:t>
            </a:r>
          </a:p>
          <a:p>
            <a:r>
              <a:rPr lang="ru-RU" sz="1900" dirty="0">
                <a:solidFill>
                  <a:srgbClr val="000000"/>
                </a:solidFill>
                <a:latin typeface="Arial"/>
                <a:ea typeface="+mn-lt"/>
                <a:cs typeface="+mn-lt"/>
              </a:rPr>
              <a:t>Дали положительную оценку текущему среднесрочному обзору Стратегии Института ЦАРЭС на 2021-2025 гг.</a:t>
            </a:r>
          </a:p>
          <a:p>
            <a:r>
              <a:rPr lang="ru-RU" sz="1900" dirty="0">
                <a:solidFill>
                  <a:srgbClr val="000000"/>
                </a:solidFill>
                <a:latin typeface="Arial"/>
                <a:ea typeface="+mn-lt"/>
                <a:cs typeface="+mn-lt"/>
              </a:rPr>
              <a:t>Озвучили призыв приложить больше усилий для увеличения объема финансовых и технических ресурсов, а также настоятельно рекомендовали всем партнерам найти и разработать решения для мобилизации и генерирования большего интереса и финансирования со стороны частного сектора</a:t>
            </a:r>
            <a:endParaRPr lang="en-PH" sz="1900" dirty="0">
              <a:solidFill>
                <a:srgbClr val="000000"/>
              </a:solidFill>
              <a:latin typeface="Arial"/>
              <a:ea typeface="Calibri" panose="020F0502020204030204"/>
              <a:cs typeface="Calibri"/>
            </a:endParaRPr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4D311A78-6D42-E321-5C49-AA19766303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61409" y="2158446"/>
            <a:ext cx="3711722" cy="3569927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DCACC96-D2B5-104A-9C99-4C900F1C0E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8170" y="3055856"/>
            <a:ext cx="3378200" cy="245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94968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E5892-10AB-5D27-2EEA-D7EFA61EF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939568"/>
          </a:xfrm>
        </p:spPr>
        <p:txBody>
          <a:bodyPr>
            <a:normAutofit fontScale="90000"/>
          </a:bodyPr>
          <a:lstStyle/>
          <a:p>
            <a:r>
              <a:rPr lang="ru-RU" sz="3600" b="1" dirty="0">
                <a:latin typeface="Arial" panose="020B0604020202020204" pitchFamily="34" charset="0"/>
                <a:cs typeface="Arial" panose="020B0604020202020204" pitchFamily="34" charset="0"/>
              </a:rPr>
              <a:t>Справочно: дополнительные мероприятия 22ой МК ЦАРЭС </a:t>
            </a:r>
            <a:endParaRPr lang="en-US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835466-AFFD-6350-E0D9-3B94AA71E4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7447" y="2874029"/>
            <a:ext cx="10193443" cy="3482321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0" indent="0">
              <a:buNone/>
            </a:pPr>
            <a:r>
              <a:rPr lang="ru-RU" b="1" dirty="0">
                <a:solidFill>
                  <a:schemeClr val="accent2"/>
                </a:solidFill>
                <a:latin typeface="Arial"/>
                <a:ea typeface="Calibri" panose="020F0502020204030204"/>
                <a:cs typeface="Arial"/>
              </a:rPr>
              <a:t>Энергетический инвестиционный форум ЦАРЭС </a:t>
            </a:r>
            <a:r>
              <a:rPr lang="en-US" b="1" dirty="0">
                <a:solidFill>
                  <a:schemeClr val="accent2"/>
                </a:solidFill>
                <a:latin typeface="Arial"/>
                <a:ea typeface="Calibri" panose="020F0502020204030204"/>
                <a:cs typeface="Arial"/>
              </a:rPr>
              <a:t>|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28–29 </a:t>
            </a:r>
            <a:r>
              <a:rPr lang="ru-RU" sz="1800" b="1" i="1" dirty="0">
                <a:solidFill>
                  <a:srgbClr val="000000"/>
                </a:solidFill>
                <a:latin typeface="Arial"/>
                <a:cs typeface="Arial"/>
              </a:rPr>
              <a:t>ноября</a:t>
            </a:r>
            <a:r>
              <a:rPr lang="en-US" sz="1800" b="1" i="1" u="none" strike="noStrike" baseline="0" dirty="0">
                <a:solidFill>
                  <a:srgbClr val="000000"/>
                </a:solidFill>
                <a:latin typeface="Arial"/>
                <a:cs typeface="Arial"/>
              </a:rPr>
              <a:t> 2023</a:t>
            </a:r>
            <a:r>
              <a:rPr lang="ru-RU" sz="1800" b="1" i="1" u="none" strike="noStrike" baseline="0" dirty="0">
                <a:solidFill>
                  <a:srgbClr val="000000"/>
                </a:solidFill>
                <a:latin typeface="Arial"/>
                <a:cs typeface="Arial"/>
              </a:rPr>
              <a:t> г.</a:t>
            </a:r>
            <a:r>
              <a:rPr lang="en-US" sz="1800" b="1" i="1" u="none" strike="noStrike" baseline="0" dirty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ru-RU" sz="1800" b="1" i="1" dirty="0">
                <a:solidFill>
                  <a:srgbClr val="000000"/>
                </a:solidFill>
                <a:latin typeface="Arial"/>
                <a:cs typeface="Arial"/>
              </a:rPr>
              <a:t>Гостиница </a:t>
            </a:r>
            <a:r>
              <a:rPr lang="en-US" sz="1800" b="1" i="1" u="none" strike="noStrike" baseline="0" dirty="0">
                <a:solidFill>
                  <a:srgbClr val="000000"/>
                </a:solidFill>
                <a:latin typeface="Arial"/>
                <a:cs typeface="Arial"/>
                <a:hlinkClick r:id="rId2"/>
              </a:rPr>
              <a:t>Stamba Hotel</a:t>
            </a:r>
            <a:r>
              <a:rPr lang="en-US" sz="1800" b="1" i="1" u="none" strike="noStrike" baseline="0" dirty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ru-RU" sz="1800" b="1" i="1" dirty="0">
                <a:solidFill>
                  <a:srgbClr val="000000"/>
                </a:solidFill>
                <a:latin typeface="Arial"/>
                <a:cs typeface="Arial"/>
              </a:rPr>
              <a:t>Тбилиси</a:t>
            </a:r>
            <a:endParaRPr lang="en-US" dirty="0">
              <a:latin typeface="Arial"/>
              <a:ea typeface="Calibri" panose="020F0502020204030204"/>
              <a:cs typeface="Arial"/>
            </a:endParaRPr>
          </a:p>
          <a:p>
            <a:r>
              <a:rPr lang="ru-RU" sz="1900" dirty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Основная цель – стимулировать диалог, который приведет к инициированию новых проектов в области устойчивой энергетики, и способствовать финансированию этих проектов</a:t>
            </a:r>
          </a:p>
          <a:p>
            <a:r>
              <a:rPr lang="ru-RU" sz="1900" dirty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Участники: Официальные представители энергетических ведомств стран-членов ЦАРЭС, банки развития, частные инвесторы и ключевые региональные заинтересованные стороны</a:t>
            </a:r>
          </a:p>
          <a:p>
            <a:r>
              <a:rPr lang="ru-RU" sz="1900" dirty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Выступающие:  Старший директор Группы энергетического сектора АБР, Международное агентство по возобновляемой энергии, Грузинская ассоциация развития возобновляемой энергетики и другие.</a:t>
            </a:r>
          </a:p>
          <a:p>
            <a:r>
              <a:rPr lang="ru-RU" sz="1900" dirty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Модератор: Ниша </a:t>
            </a:r>
            <a:r>
              <a:rPr lang="ru-RU" sz="1900" dirty="0" err="1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Пиллай</a:t>
            </a:r>
            <a:r>
              <a:rPr lang="ru-RU" sz="1900" dirty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, бывшая ведущая </a:t>
            </a:r>
            <a:r>
              <a:rPr lang="en-US" sz="1900" dirty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BBC Worl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1536A2-35D8-8C23-AE01-61635E886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529B93-2171-4743-9770-E2B16911C1C6}" type="slidenum">
              <a:rPr kumimoji="0" lang="en-P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PH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logo with text on it&#10;&#10;Description automatically generated">
            <a:extLst>
              <a:ext uri="{FF2B5EF4-FFF2-40B4-BE49-F238E27FC236}">
                <a16:creationId xmlns:a16="http://schemas.microsoft.com/office/drawing/2014/main" id="{EB6628DB-C28C-0405-46AE-5846D52172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8264" y="1066948"/>
            <a:ext cx="2495550" cy="1238250"/>
          </a:xfrm>
          <a:prstGeom prst="rect">
            <a:avLst/>
          </a:prstGeom>
        </p:spPr>
      </p:pic>
      <p:pic>
        <p:nvPicPr>
          <p:cNvPr id="5" name="Picture 4" descr="A logo with orange and yellow colors&#10;&#10;Description automatically generated">
            <a:extLst>
              <a:ext uri="{FF2B5EF4-FFF2-40B4-BE49-F238E27FC236}">
                <a16:creationId xmlns:a16="http://schemas.microsoft.com/office/drawing/2014/main" id="{FF0F726B-204D-FE62-AC8D-D8225D2DCA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73670" y="1211996"/>
            <a:ext cx="2457450" cy="94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81242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E5892-10AB-5D27-2EEA-D7EFA61EF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939568"/>
          </a:xfrm>
        </p:spPr>
        <p:txBody>
          <a:bodyPr>
            <a:normAutofit fontScale="90000"/>
          </a:bodyPr>
          <a:lstStyle/>
          <a:p>
            <a:r>
              <a:rPr lang="ru-RU" sz="3600" b="1" dirty="0">
                <a:latin typeface="Arial" panose="020B0604020202020204" pitchFamily="34" charset="0"/>
                <a:cs typeface="Arial" panose="020B0604020202020204" pitchFamily="34" charset="0"/>
              </a:rPr>
              <a:t>Справочно: дополнительные мероприятия 22ой МК ЦАРЭС </a:t>
            </a:r>
            <a:endParaRPr lang="en-US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835466-AFFD-6350-E0D9-3B94AA71E4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5405" y="781965"/>
            <a:ext cx="7934716" cy="5698664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0" indent="0" algn="l">
              <a:buNone/>
            </a:pPr>
            <a:endParaRPr lang="en-US" sz="1800" b="1" i="1" dirty="0"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b="1" dirty="0">
                <a:latin typeface="Arial"/>
                <a:ea typeface="Calibri" panose="020F0502020204030204"/>
                <a:cs typeface="Arial"/>
                <a:hlinkClick r:id="rId3"/>
              </a:rPr>
              <a:t>Мероприятия ЦАРЭС по гендерным вопросам</a:t>
            </a:r>
            <a:r>
              <a:rPr lang="en-US" b="1" dirty="0">
                <a:latin typeface="Arial"/>
                <a:ea typeface="Calibri" panose="020F0502020204030204"/>
                <a:cs typeface="Arial"/>
                <a:hlinkClick r:id="rId3"/>
              </a:rPr>
              <a:t> </a:t>
            </a:r>
            <a:r>
              <a:rPr lang="en-US" b="1" dirty="0">
                <a:solidFill>
                  <a:schemeClr val="accent2"/>
                </a:solidFill>
                <a:latin typeface="Arial"/>
                <a:ea typeface="Calibri" panose="020F0502020204030204"/>
                <a:cs typeface="Arial"/>
              </a:rPr>
              <a:t>|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28–29 </a:t>
            </a:r>
            <a:r>
              <a:rPr lang="ru-RU" sz="1800" b="1" i="1" dirty="0">
                <a:solidFill>
                  <a:srgbClr val="000000"/>
                </a:solidFill>
                <a:latin typeface="Arial"/>
                <a:cs typeface="Arial"/>
              </a:rPr>
              <a:t>ноября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 2023</a:t>
            </a:r>
            <a:r>
              <a:rPr lang="ru-RU" sz="1800" b="1" i="1" dirty="0">
                <a:solidFill>
                  <a:srgbClr val="000000"/>
                </a:solidFill>
                <a:latin typeface="Arial"/>
                <a:cs typeface="Arial"/>
              </a:rPr>
              <a:t> г.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ru-RU" sz="1800" b="1" i="1" dirty="0">
                <a:solidFill>
                  <a:srgbClr val="000000"/>
                </a:solidFill>
                <a:latin typeface="Arial"/>
                <a:cs typeface="Arial"/>
              </a:rPr>
              <a:t>Гостиница «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Biltmore Hotel</a:t>
            </a:r>
            <a:r>
              <a:rPr lang="ru-RU" sz="1800" b="1" i="1" dirty="0">
                <a:solidFill>
                  <a:srgbClr val="000000"/>
                </a:solidFill>
                <a:latin typeface="Arial"/>
                <a:cs typeface="Arial"/>
              </a:rPr>
              <a:t>»</a:t>
            </a:r>
            <a:endParaRPr lang="en-US" sz="1800" b="1" i="1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b="1" i="1" dirty="0">
              <a:solidFill>
                <a:srgbClr val="000000"/>
              </a:solidFill>
              <a:latin typeface="Arial"/>
              <a:cs typeface="Arial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900" b="1" dirty="0">
                <a:latin typeface="Arial"/>
                <a:ea typeface="Arial" panose="020B0604020202020204" pitchFamily="34" charset="0"/>
                <a:cs typeface="Arial"/>
              </a:rPr>
              <a:t>Второе заседание Региональной гендерной экспертной группы (РГЭГ) ЦАРЭС, 28 ноября</a:t>
            </a:r>
            <a:endParaRPr lang="en-US" sz="1900" b="1" dirty="0">
              <a:effectLst/>
              <a:latin typeface="Arial"/>
              <a:ea typeface="Arial" panose="020B0604020202020204" pitchFamily="34" charset="0"/>
              <a:cs typeface="Arial"/>
            </a:endParaRPr>
          </a:p>
          <a:p>
            <a:pPr lvl="1"/>
            <a:r>
              <a:rPr lang="ru-RU" sz="19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Обсуждение прогресса по </a:t>
            </a:r>
            <a:r>
              <a:rPr lang="ru-RU" sz="1900" i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Гендерной стратегии ЦАРЭС </a:t>
            </a:r>
            <a:r>
              <a:rPr lang="ru-RU" sz="19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на 2023 год и последующих шагов по реализации стратегии</a:t>
            </a:r>
            <a:endParaRPr lang="en-US" sz="19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900" b="1" dirty="0">
                <a:solidFill>
                  <a:srgbClr val="000000"/>
                </a:solidFill>
                <a:latin typeface="Arial"/>
                <a:cs typeface="Arial"/>
              </a:rPr>
              <a:t>Женский бизнес-форум ЦАРЭС, 29 ноября </a:t>
            </a:r>
            <a:r>
              <a:rPr lang="en-US" sz="1900" b="1" dirty="0">
                <a:latin typeface="Arial"/>
                <a:ea typeface="Arial" panose="020B0604020202020204" pitchFamily="34" charset="0"/>
                <a:cs typeface="Arial"/>
              </a:rPr>
              <a:t> </a:t>
            </a:r>
          </a:p>
          <a:p>
            <a:pPr lvl="1"/>
            <a:r>
              <a:rPr lang="ru-RU" sz="1900" dirty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Члены РГЭГ, лауреаты гендерных премий ЦАРЭС, приглашенные докладчики и партнеры по развитию обсудят возможности усиления навыков посредством обмена знаниями и создания сетей для различных участников, а также расширения экономических и социальных возможностей женщин в странах ЦАРЭС</a:t>
            </a:r>
            <a:r>
              <a:rPr lang="en-US" sz="19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9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en-US" sz="1900" b="1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900" b="1" dirty="0">
                <a:solidFill>
                  <a:srgbClr val="000000"/>
                </a:solidFill>
                <a:latin typeface="Arial"/>
                <a:cs typeface="Arial"/>
                <a:hlinkClick r:id="rId4"/>
              </a:rPr>
              <a:t>Церемония вручения премий</a:t>
            </a:r>
            <a:r>
              <a:rPr lang="en-US" sz="1900" b="1" dirty="0">
                <a:solidFill>
                  <a:srgbClr val="000000"/>
                </a:solidFill>
                <a:latin typeface="Arial"/>
                <a:cs typeface="Arial"/>
                <a:hlinkClick r:id="rId4"/>
              </a:rPr>
              <a:t> </a:t>
            </a:r>
            <a:r>
              <a:rPr lang="ru-RU" sz="1900" b="1" dirty="0">
                <a:solidFill>
                  <a:srgbClr val="000000"/>
                </a:solidFill>
                <a:latin typeface="Arial"/>
                <a:cs typeface="Arial"/>
              </a:rPr>
              <a:t>ЦАРЭС по гендерной линии и вечерний прием - ужин, 29 ноября</a:t>
            </a:r>
            <a:r>
              <a:rPr lang="en-US" sz="1900" b="1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</a:p>
          <a:p>
            <a:pPr lvl="1"/>
            <a:r>
              <a:rPr lang="ru-RU" sz="1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церемонии будут отмечены отдельные лица и организации, посвятившие свое время, ресурсы и таланты осуществлению позитивных изменений в области гендерного равенства</a:t>
            </a:r>
            <a:r>
              <a:rPr lang="en-US" sz="1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 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1536A2-35D8-8C23-AE01-61635E886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529B93-2171-4743-9770-E2B16911C1C6}" type="slidenum">
              <a:rPr kumimoji="0" lang="en-P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PH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image">
            <a:extLst>
              <a:ext uri="{FF2B5EF4-FFF2-40B4-BE49-F238E27FC236}">
                <a16:creationId xmlns:a16="http://schemas.microsoft.com/office/drawing/2014/main" id="{7159B452-F237-393D-5103-74ABACC70F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06840" y="2101291"/>
            <a:ext cx="2743200" cy="2655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8753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E87E53B-AE64-DB8A-40AE-0962DAFC27DD}"/>
              </a:ext>
            </a:extLst>
          </p:cNvPr>
          <p:cNvSpPr/>
          <p:nvPr/>
        </p:nvSpPr>
        <p:spPr>
          <a:xfrm>
            <a:off x="-12097" y="0"/>
            <a:ext cx="6061031" cy="6858000"/>
          </a:xfrm>
          <a:custGeom>
            <a:avLst/>
            <a:gdLst>
              <a:gd name="connsiteX0" fmla="*/ 0 w 8399253"/>
              <a:gd name="connsiteY0" fmla="*/ 0 h 6858000"/>
              <a:gd name="connsiteX1" fmla="*/ 7825993 w 8399253"/>
              <a:gd name="connsiteY1" fmla="*/ 0 h 6858000"/>
              <a:gd name="connsiteX2" fmla="*/ 8399253 w 8399253"/>
              <a:gd name="connsiteY2" fmla="*/ 573260 h 6858000"/>
              <a:gd name="connsiteX3" fmla="*/ 8399253 w 8399253"/>
              <a:gd name="connsiteY3" fmla="*/ 6284740 h 6858000"/>
              <a:gd name="connsiteX4" fmla="*/ 7825993 w 8399253"/>
              <a:gd name="connsiteY4" fmla="*/ 6858000 h 6858000"/>
              <a:gd name="connsiteX5" fmla="*/ 0 w 8399253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99253" h="6858000">
                <a:moveTo>
                  <a:pt x="0" y="0"/>
                </a:moveTo>
                <a:lnTo>
                  <a:pt x="7825993" y="0"/>
                </a:lnTo>
                <a:cubicBezTo>
                  <a:pt x="8142596" y="0"/>
                  <a:pt x="8399253" y="256657"/>
                  <a:pt x="8399253" y="573260"/>
                </a:cubicBezTo>
                <a:lnTo>
                  <a:pt x="8399253" y="6284740"/>
                </a:lnTo>
                <a:cubicBezTo>
                  <a:pt x="8399253" y="6601343"/>
                  <a:pt x="8142596" y="6858000"/>
                  <a:pt x="7825993" y="6858000"/>
                </a:cubicBezTo>
                <a:lnTo>
                  <a:pt x="0" y="6858000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0CC3192-AB66-7CA8-B4E5-744835332D16}"/>
              </a:ext>
            </a:extLst>
          </p:cNvPr>
          <p:cNvSpPr txBox="1"/>
          <p:nvPr/>
        </p:nvSpPr>
        <p:spPr>
          <a:xfrm>
            <a:off x="281893" y="2492188"/>
            <a:ext cx="5346209" cy="31700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4000" b="1" i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/>
              </a:rPr>
              <a:t>«Регион устойчивого развития, взаимного процветания и сопротивляемости к изменению климата»</a:t>
            </a:r>
            <a:endParaRPr lang="en-US" sz="4000" b="1" i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badi" panose="020B0604020104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E94B79-E8FA-F6E1-5C62-7EDB00E2EB37}"/>
              </a:ext>
            </a:extLst>
          </p:cNvPr>
          <p:cNvSpPr txBox="1"/>
          <p:nvPr/>
        </p:nvSpPr>
        <p:spPr>
          <a:xfrm>
            <a:off x="180913" y="1685825"/>
            <a:ext cx="581809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latin typeface="Abadi" panose="020B0604020104020204" pitchFamily="34" charset="0"/>
              </a:rPr>
              <a:t>Заявление по климатическому видению ЦАРЭС:</a:t>
            </a:r>
            <a:endParaRPr lang="en-US" sz="2800" b="1" dirty="0">
              <a:latin typeface="Abadi" panose="020B0604020104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FCB0323-9034-2891-EA97-96892E5FF4EC}"/>
              </a:ext>
            </a:extLst>
          </p:cNvPr>
          <p:cNvSpPr/>
          <p:nvPr/>
        </p:nvSpPr>
        <p:spPr>
          <a:xfrm>
            <a:off x="6241944" y="309364"/>
            <a:ext cx="5629569" cy="2161129"/>
          </a:xfrm>
          <a:prstGeom prst="roundRect">
            <a:avLst>
              <a:gd name="adj" fmla="val 911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 descr="A logo with a red and yellow circle&#10;&#10;Description automatically generated">
            <a:extLst>
              <a:ext uri="{FF2B5EF4-FFF2-40B4-BE49-F238E27FC236}">
                <a16:creationId xmlns:a16="http://schemas.microsoft.com/office/drawing/2014/main" id="{1948D317-1E92-A712-6F8B-DA1EAF16DE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1824" y="229491"/>
            <a:ext cx="1173191" cy="117319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E794829-4A05-CA34-F6A6-50722CC6C4F5}"/>
              </a:ext>
            </a:extLst>
          </p:cNvPr>
          <p:cNvSpPr txBox="1"/>
          <p:nvPr/>
        </p:nvSpPr>
        <p:spPr>
          <a:xfrm>
            <a:off x="6342923" y="839439"/>
            <a:ext cx="526104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Смягчение</a:t>
            </a:r>
            <a:r>
              <a:rPr lang="en-US" sz="2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 </a:t>
            </a:r>
            <a:r>
              <a:rPr lang="ru-RU" sz="2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последствий изменения климата</a:t>
            </a:r>
            <a:endParaRPr lang="en-US" sz="2400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badi" panose="020B0604020104020204" pitchFamily="34" charset="0"/>
            </a:endParaRPr>
          </a:p>
          <a:p>
            <a:r>
              <a:rPr lang="ru-RU" sz="2400" b="1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Адаптация</a:t>
            </a:r>
            <a:r>
              <a:rPr lang="en-US" sz="2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 </a:t>
            </a:r>
            <a:r>
              <a:rPr lang="ru-RU" sz="2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к изменению климата</a:t>
            </a:r>
            <a:endParaRPr lang="en-US" sz="2400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badi" panose="020B0604020104020204" pitchFamily="34" charset="0"/>
            </a:endParaRPr>
          </a:p>
          <a:p>
            <a:r>
              <a:rPr lang="ru-RU" sz="2400" b="1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Сотрудничество </a:t>
            </a:r>
            <a:r>
              <a:rPr lang="ru-RU" sz="2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сквозь границы</a:t>
            </a:r>
            <a:endParaRPr lang="en-US" sz="2400" dirty="0">
              <a:latin typeface="Abadi" panose="020B0604020104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DD75059-9BD7-3495-BEE1-4D1BB49A8021}"/>
              </a:ext>
            </a:extLst>
          </p:cNvPr>
          <p:cNvSpPr txBox="1"/>
          <p:nvPr/>
        </p:nvSpPr>
        <p:spPr>
          <a:xfrm>
            <a:off x="6316152" y="282014"/>
            <a:ext cx="19094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accent2"/>
                </a:solidFill>
                <a:latin typeface="Abadi" panose="020B0604020104020204" pitchFamily="34" charset="0"/>
              </a:rPr>
              <a:t>3 </a:t>
            </a:r>
            <a:r>
              <a:rPr lang="ru-RU" sz="3200" b="1" dirty="0">
                <a:solidFill>
                  <a:schemeClr val="accent2"/>
                </a:solidFill>
                <a:latin typeface="Abadi" panose="020B0604020104020204" pitchFamily="34" charset="0"/>
              </a:rPr>
              <a:t>Цели</a:t>
            </a:r>
            <a:endParaRPr lang="en-US" sz="3200" b="1" dirty="0">
              <a:solidFill>
                <a:schemeClr val="accent2"/>
              </a:solidFill>
              <a:latin typeface="Abadi" panose="020B0604020104020204" pitchFamily="34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C7F7931-FE15-A468-F1B5-F128120F5E15}"/>
              </a:ext>
            </a:extLst>
          </p:cNvPr>
          <p:cNvSpPr/>
          <p:nvPr/>
        </p:nvSpPr>
        <p:spPr>
          <a:xfrm>
            <a:off x="6241944" y="3210881"/>
            <a:ext cx="5752834" cy="3434861"/>
          </a:xfrm>
          <a:prstGeom prst="roundRect">
            <a:avLst>
              <a:gd name="adj" fmla="val 911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57B82F0-A51B-0019-5736-71AB3A6383E8}"/>
              </a:ext>
            </a:extLst>
          </p:cNvPr>
          <p:cNvSpPr txBox="1"/>
          <p:nvPr/>
        </p:nvSpPr>
        <p:spPr>
          <a:xfrm>
            <a:off x="6370974" y="3931766"/>
            <a:ext cx="523299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Согласованность</a:t>
            </a:r>
            <a:r>
              <a:rPr lang="en-US" sz="2000" b="1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 </a:t>
            </a:r>
            <a:r>
              <a:rPr lang="ru-RU" sz="20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с национальными стратегиями</a:t>
            </a:r>
            <a:endParaRPr lang="en-US" sz="2000" b="1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badi" panose="020B0604020104020204" pitchFamily="34" charset="0"/>
            </a:endParaRPr>
          </a:p>
          <a:p>
            <a:r>
              <a:rPr lang="ru-RU" sz="2000" b="1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Углубление</a:t>
            </a:r>
            <a:r>
              <a:rPr lang="en-US" sz="2000" b="1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 </a:t>
            </a:r>
            <a:r>
              <a:rPr lang="ru-RU" sz="20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регионального сотрудничества</a:t>
            </a:r>
            <a:endParaRPr lang="en-US" sz="2000" b="1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badi" panose="020B0604020104020204" pitchFamily="34" charset="0"/>
            </a:endParaRPr>
          </a:p>
          <a:p>
            <a:r>
              <a:rPr lang="ru-RU" sz="2000" b="1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Расширение</a:t>
            </a:r>
            <a:r>
              <a:rPr lang="en-US" sz="2000" b="1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 </a:t>
            </a:r>
            <a:r>
              <a:rPr lang="ru-RU" sz="20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координации с ПР</a:t>
            </a:r>
            <a:endParaRPr lang="en-US" sz="2000" b="1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badi" panose="020B0604020104020204" pitchFamily="34" charset="0"/>
            </a:endParaRPr>
          </a:p>
          <a:p>
            <a:r>
              <a:rPr lang="ru-RU" sz="2000" b="1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Интеграция</a:t>
            </a:r>
            <a:r>
              <a:rPr lang="en-US" sz="2000" b="1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 </a:t>
            </a:r>
            <a:r>
              <a:rPr lang="ru-RU" sz="20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частного сектора/гражданского общества</a:t>
            </a:r>
            <a:endParaRPr lang="en-US" sz="2000" b="1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badi" panose="020B0604020104020204" pitchFamily="34" charset="0"/>
            </a:endParaRPr>
          </a:p>
          <a:p>
            <a:r>
              <a:rPr lang="ru-RU" sz="2000" b="1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Формирование</a:t>
            </a:r>
            <a:r>
              <a:rPr lang="en-US" sz="2000" b="1" dirty="0">
                <a:solidFill>
                  <a:srgbClr val="00B05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 </a:t>
            </a:r>
            <a:r>
              <a:rPr lang="ru-RU" sz="20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</a:rPr>
              <a:t>открытой региональной платформы</a:t>
            </a:r>
            <a:endParaRPr lang="en-US" sz="2000" b="1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badi" panose="020B0604020104020204" pitchFamily="34" charset="0"/>
            </a:endParaRPr>
          </a:p>
          <a:p>
            <a:endParaRPr lang="en-US" sz="2000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badi" panose="020B0604020104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BA8E95F-69D7-AC4D-D789-9F6DB699FCC4}"/>
              </a:ext>
            </a:extLst>
          </p:cNvPr>
          <p:cNvSpPr txBox="1"/>
          <p:nvPr/>
        </p:nvSpPr>
        <p:spPr>
          <a:xfrm>
            <a:off x="6342923" y="3346991"/>
            <a:ext cx="32765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accent2"/>
                </a:solidFill>
                <a:latin typeface="Abadi" panose="020B0604020104020204" pitchFamily="34" charset="0"/>
              </a:rPr>
              <a:t>5 </a:t>
            </a:r>
            <a:r>
              <a:rPr lang="ru-RU" sz="3200" b="1" dirty="0">
                <a:solidFill>
                  <a:schemeClr val="accent2"/>
                </a:solidFill>
                <a:latin typeface="Abadi" panose="020B0604020104020204" pitchFamily="34" charset="0"/>
              </a:rPr>
              <a:t>Принципов</a:t>
            </a:r>
            <a:endParaRPr lang="en-US" sz="3200" b="1" dirty="0">
              <a:solidFill>
                <a:schemeClr val="accent2"/>
              </a:solidFill>
              <a:latin typeface="Abadi" panose="020B06040201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145155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E5892-10AB-5D27-2EEA-D7EFA61EF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5731"/>
            <a:ext cx="10515600" cy="708660"/>
          </a:xfrm>
        </p:spPr>
        <p:txBody>
          <a:bodyPr>
            <a:normAutofit fontScale="90000"/>
          </a:bodyPr>
          <a:lstStyle/>
          <a:p>
            <a:r>
              <a:rPr lang="ru-RU" sz="3600" b="1" dirty="0">
                <a:latin typeface="Arial" panose="020B0604020202020204" pitchFamily="34" charset="0"/>
                <a:cs typeface="Arial" panose="020B0604020202020204" pitchFamily="34" charset="0"/>
              </a:rPr>
              <a:t>Справочно: дополнительные мероприятия МК ЦАРЭС </a:t>
            </a:r>
            <a:endParaRPr lang="en-US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835466-AFFD-6350-E0D9-3B94AA71E4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9056" y="1288459"/>
            <a:ext cx="10515600" cy="5113973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0" indent="0">
              <a:buNone/>
            </a:pPr>
            <a:r>
              <a:rPr lang="ru-RU" b="1" dirty="0">
                <a:latin typeface="Arial"/>
                <a:ea typeface="Calibri" panose="020F0502020204030204"/>
                <a:cs typeface="Arial"/>
              </a:rPr>
              <a:t>14-е заседание Управляющего совета Института ЦАРЭС</a:t>
            </a:r>
            <a:r>
              <a:rPr lang="en-PH" dirty="0">
                <a:latin typeface="Arial"/>
                <a:ea typeface="Calibri" panose="020F0502020204030204"/>
                <a:cs typeface="Arial"/>
              </a:rPr>
              <a:t> </a:t>
            </a:r>
            <a:r>
              <a:rPr lang="en-US" b="1" dirty="0">
                <a:solidFill>
                  <a:schemeClr val="accent2"/>
                </a:solidFill>
                <a:latin typeface="Arial"/>
                <a:ea typeface="Calibri" panose="020F0502020204030204"/>
                <a:cs typeface="Arial"/>
              </a:rPr>
              <a:t>|</a:t>
            </a:r>
          </a:p>
          <a:p>
            <a:pPr marL="0" indent="0">
              <a:buNone/>
            </a:pPr>
            <a:r>
              <a:rPr lang="en-US" sz="1800" b="1" i="1" dirty="0">
                <a:solidFill>
                  <a:srgbClr val="000000"/>
                </a:solidFill>
                <a:latin typeface="Arial"/>
                <a:ea typeface="Calibri" panose="020F0502020204030204"/>
                <a:cs typeface="Arial"/>
              </a:rPr>
              <a:t>1 </a:t>
            </a:r>
            <a:r>
              <a:rPr lang="ru-RU" sz="1800" b="1" i="1" dirty="0">
                <a:solidFill>
                  <a:srgbClr val="000000"/>
                </a:solidFill>
                <a:latin typeface="Arial"/>
                <a:ea typeface="Calibri" panose="020F0502020204030204"/>
                <a:cs typeface="Arial"/>
              </a:rPr>
              <a:t>декабря</a:t>
            </a:r>
            <a:r>
              <a:rPr lang="en-US" sz="1800" b="1" i="1" dirty="0">
                <a:solidFill>
                  <a:srgbClr val="000000"/>
                </a:solidFill>
                <a:latin typeface="Arial"/>
                <a:ea typeface="Calibri" panose="020F0502020204030204"/>
                <a:cs typeface="Arial"/>
              </a:rPr>
              <a:t> </a:t>
            </a:r>
            <a:r>
              <a:rPr lang="en-US" sz="1800" b="1" i="1" u="none" strike="noStrike" baseline="0" dirty="0">
                <a:solidFill>
                  <a:srgbClr val="000000"/>
                </a:solidFill>
                <a:latin typeface="Arial"/>
                <a:cs typeface="Arial"/>
              </a:rPr>
              <a:t>2023</a:t>
            </a:r>
            <a:r>
              <a:rPr lang="ru-RU" sz="1800" b="1" i="1" u="none" strike="noStrike" baseline="0" dirty="0">
                <a:solidFill>
                  <a:srgbClr val="000000"/>
                </a:solidFill>
                <a:latin typeface="Arial"/>
                <a:cs typeface="Arial"/>
              </a:rPr>
              <a:t> года</a:t>
            </a:r>
            <a:r>
              <a:rPr lang="en-US" sz="1800" b="1" i="1" u="none" strike="noStrike" baseline="0" dirty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ru-RU" sz="1800" b="1" i="1" u="none" strike="noStrike" baseline="0" dirty="0">
                <a:solidFill>
                  <a:srgbClr val="000000"/>
                </a:solidFill>
                <a:latin typeface="Arial"/>
                <a:cs typeface="Arial"/>
              </a:rPr>
              <a:t>Гостиница «</a:t>
            </a:r>
            <a:r>
              <a:rPr lang="en-US" sz="1800" b="1" i="1" u="none" strike="noStrike" baseline="0" dirty="0">
                <a:solidFill>
                  <a:srgbClr val="000000"/>
                </a:solidFill>
                <a:latin typeface="Arial"/>
                <a:cs typeface="Arial"/>
              </a:rPr>
              <a:t>Biltmore Hotel</a:t>
            </a:r>
            <a:r>
              <a:rPr lang="ru-RU" sz="1800" b="1" i="1" u="none" strike="noStrike" baseline="0" dirty="0">
                <a:solidFill>
                  <a:srgbClr val="000000"/>
                </a:solidFill>
                <a:latin typeface="Arial"/>
                <a:cs typeface="Arial"/>
              </a:rPr>
              <a:t>»</a:t>
            </a:r>
            <a:r>
              <a:rPr lang="en-US" sz="1800" b="1" i="1" u="none" strike="noStrike" baseline="0" dirty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ru-RU" sz="1800" b="1" i="1" u="none" strike="noStrike" baseline="0" dirty="0">
                <a:solidFill>
                  <a:srgbClr val="000000"/>
                </a:solidFill>
                <a:latin typeface="Arial"/>
                <a:cs typeface="Arial"/>
              </a:rPr>
              <a:t>Тбилиси</a:t>
            </a:r>
            <a:endParaRPr lang="en-US" sz="1800" b="1" i="1" u="none" strike="noStrike" baseline="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dirty="0">
              <a:latin typeface="Arial" panose="020B0604020202020204" pitchFamily="34" charset="0"/>
              <a:ea typeface="Calibri" panose="020F0502020204030204"/>
              <a:cs typeface="Arial" panose="020B0604020202020204" pitchFamily="34" charset="0"/>
            </a:endParaRPr>
          </a:p>
          <a:p>
            <a:pPr algn="just"/>
            <a:r>
              <a:rPr lang="ru-RU" sz="1900" dirty="0">
                <a:latin typeface="Arial"/>
                <a:ea typeface="Calibri" panose="020F0502020204030204"/>
                <a:cs typeface="Arial"/>
              </a:rPr>
              <a:t>Управляющий совет (ОС) является высшим директивным органом Института ЦАРЭС (ИЦ), который рассматривает прогресс Института и утверждает план работы, бюджет, институциональные правила и политики. </a:t>
            </a:r>
          </a:p>
          <a:p>
            <a:pPr algn="just"/>
            <a:r>
              <a:rPr lang="ru-RU" sz="1900" dirty="0">
                <a:latin typeface="Arial"/>
                <a:ea typeface="Calibri" panose="020F0502020204030204"/>
                <a:cs typeface="Arial"/>
              </a:rPr>
              <a:t>Национальные координаторы Программы ЦАРЭС выступают в качестве членов Управляющего совета</a:t>
            </a:r>
            <a:r>
              <a:rPr lang="en-PH" sz="1900" dirty="0">
                <a:latin typeface="Arial"/>
                <a:ea typeface="Calibri" panose="020F0502020204030204"/>
                <a:cs typeface="Arial"/>
              </a:rPr>
              <a:t>. </a:t>
            </a:r>
          </a:p>
          <a:p>
            <a:pPr algn="just"/>
            <a:r>
              <a:rPr lang="ru-RU" sz="1900" dirty="0">
                <a:latin typeface="Arial"/>
                <a:ea typeface="Calibri" panose="020F0502020204030204"/>
                <a:cs typeface="Arial"/>
              </a:rPr>
              <a:t>Председательствует Казахстан. </a:t>
            </a:r>
          </a:p>
          <a:p>
            <a:pPr algn="just"/>
            <a:r>
              <a:rPr lang="ru-RU" sz="1900" dirty="0">
                <a:latin typeface="Arial"/>
                <a:ea typeface="Calibri" panose="020F0502020204030204"/>
                <a:cs typeface="Arial"/>
              </a:rPr>
              <a:t>Ожидается участие около 30 человек, включая </a:t>
            </a:r>
            <a:r>
              <a:rPr lang="ru-RU" sz="1900" b="1" dirty="0">
                <a:latin typeface="Arial"/>
                <a:ea typeface="Calibri" panose="020F0502020204030204"/>
                <a:cs typeface="Arial"/>
              </a:rPr>
              <a:t>национальных координаторов</a:t>
            </a:r>
            <a:r>
              <a:rPr lang="ru-RU" sz="1900" dirty="0">
                <a:latin typeface="Arial"/>
                <a:ea typeface="Calibri" panose="020F0502020204030204"/>
                <a:cs typeface="Arial"/>
              </a:rPr>
              <a:t>, советников НК, Институт ЦАРЭС и АБР (в качестве наблюдателя). </a:t>
            </a:r>
          </a:p>
          <a:p>
            <a:pPr algn="just"/>
            <a:r>
              <a:rPr lang="ru-RU" sz="1900" dirty="0">
                <a:latin typeface="Arial"/>
                <a:ea typeface="Calibri" panose="020F0502020204030204"/>
                <a:cs typeface="Arial"/>
              </a:rPr>
              <a:t>Повестка дня включает: (</a:t>
            </a:r>
            <a:r>
              <a:rPr lang="en-PH" sz="1900" dirty="0">
                <a:latin typeface="Arial"/>
                <a:ea typeface="Calibri" panose="020F0502020204030204"/>
                <a:cs typeface="Arial"/>
              </a:rPr>
              <a:t>i) </a:t>
            </a:r>
            <a:r>
              <a:rPr lang="ru-RU" sz="1900" dirty="0">
                <a:latin typeface="Arial"/>
                <a:ea typeface="Calibri" panose="020F0502020204030204"/>
                <a:cs typeface="Arial"/>
              </a:rPr>
              <a:t>одобрение Отчета о ходе реализации ИЦ за 2023 год, Скользящего операционного плана ИЦ на 2024-2025 годы и Бюджетного плана ИЦ на 2024 год; (</a:t>
            </a:r>
            <a:r>
              <a:rPr lang="en-PH" sz="1900" dirty="0">
                <a:latin typeface="Arial"/>
                <a:ea typeface="Calibri" panose="020F0502020204030204"/>
                <a:cs typeface="Arial"/>
              </a:rPr>
              <a:t>ii) </a:t>
            </a:r>
            <a:r>
              <a:rPr lang="ru-RU" sz="1900" dirty="0">
                <a:latin typeface="Arial"/>
                <a:ea typeface="Calibri" panose="020F0502020204030204"/>
                <a:cs typeface="Arial"/>
              </a:rPr>
              <a:t>обсуждение Среднесрочного обзора Стратегии ИЦ на 2021-2025 годы; и (</a:t>
            </a:r>
            <a:r>
              <a:rPr lang="en-PH" sz="1900" dirty="0">
                <a:latin typeface="Arial"/>
                <a:ea typeface="Calibri" panose="020F0502020204030204"/>
                <a:cs typeface="Arial"/>
              </a:rPr>
              <a:t>iii) </a:t>
            </a:r>
            <a:r>
              <a:rPr lang="ru-RU" sz="1900" dirty="0">
                <a:latin typeface="Arial"/>
                <a:ea typeface="Calibri" panose="020F0502020204030204"/>
                <a:cs typeface="Arial"/>
              </a:rPr>
              <a:t>обновление информации о заседании Консультативного совета и финансовой устойчивости</a:t>
            </a:r>
            <a:r>
              <a:rPr lang="en-PH" sz="2000" dirty="0">
                <a:latin typeface="Arial"/>
                <a:ea typeface="Calibri" panose="020F0502020204030204"/>
                <a:cs typeface="Arial"/>
              </a:rPr>
              <a:t>.</a:t>
            </a:r>
            <a:endParaRPr lang="en-US" sz="1100" b="1" dirty="0">
              <a:solidFill>
                <a:srgbClr val="8764B8"/>
              </a:solidFill>
              <a:latin typeface="Arial"/>
              <a:ea typeface="Calibri" panose="020F050202020403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683086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E5892-10AB-5D27-2EEA-D7EFA61EF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939568"/>
          </a:xfrm>
        </p:spPr>
        <p:txBody>
          <a:bodyPr>
            <a:normAutofit fontScale="90000"/>
          </a:bodyPr>
          <a:lstStyle/>
          <a:p>
            <a:r>
              <a:rPr lang="ru-RU" sz="3600" b="1" dirty="0">
                <a:latin typeface="Arial"/>
                <a:cs typeface="Arial"/>
              </a:rPr>
              <a:t>Предоставление методических рекомендаций и поддержки для НК </a:t>
            </a:r>
            <a:endParaRPr lang="en-US" sz="3600" b="1" dirty="0">
              <a:latin typeface="Arial"/>
              <a:cs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835466-AFFD-6350-E0D9-3B94AA71E4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5656" y="1198544"/>
            <a:ext cx="5830344" cy="5435249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sz="2000" b="1" dirty="0">
                <a:latin typeface="Arial"/>
                <a:cs typeface="Arial"/>
              </a:rPr>
              <a:t>(1) </a:t>
            </a:r>
            <a:r>
              <a:rPr lang="ru-RU" sz="2000" b="1" dirty="0">
                <a:latin typeface="Arial"/>
                <a:cs typeface="Arial"/>
              </a:rPr>
              <a:t>Утверждение общей программы и повестки дня 22ой МК: Окончательный вариант к</a:t>
            </a:r>
            <a:r>
              <a:rPr lang="en-US" sz="2000" b="1" dirty="0">
                <a:latin typeface="Arial"/>
                <a:cs typeface="Arial"/>
              </a:rPr>
              <a:t> </a:t>
            </a:r>
            <a:r>
              <a:rPr lang="en-US" sz="2000" b="1" u="sng" dirty="0">
                <a:solidFill>
                  <a:srgbClr val="FF0000"/>
                </a:solidFill>
                <a:latin typeface="Arial"/>
                <a:cs typeface="Arial"/>
              </a:rPr>
              <a:t>20 </a:t>
            </a:r>
            <a:r>
              <a:rPr lang="ru-RU" sz="2000" b="1" u="sng" dirty="0">
                <a:solidFill>
                  <a:srgbClr val="FF0000"/>
                </a:solidFill>
                <a:latin typeface="Arial"/>
                <a:cs typeface="Arial"/>
              </a:rPr>
              <a:t>октября</a:t>
            </a:r>
            <a:r>
              <a:rPr lang="en-US" sz="2000" b="1" u="sng" dirty="0">
                <a:solidFill>
                  <a:srgbClr val="FF0000"/>
                </a:solidFill>
                <a:latin typeface="Arial"/>
                <a:cs typeface="Arial"/>
              </a:rPr>
              <a:t> 2023</a:t>
            </a:r>
            <a:r>
              <a:rPr lang="ru-RU" sz="2000" b="1" u="sng" dirty="0">
                <a:solidFill>
                  <a:srgbClr val="FF0000"/>
                </a:solidFill>
                <a:latin typeface="Arial"/>
                <a:cs typeface="Arial"/>
              </a:rPr>
              <a:t> года</a:t>
            </a:r>
            <a:endParaRPr lang="en-US" sz="2000" b="1" u="sng" dirty="0">
              <a:solidFill>
                <a:srgbClr val="FF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500" b="1" dirty="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2000" b="1" dirty="0">
                <a:latin typeface="Arial"/>
                <a:cs typeface="Arial"/>
              </a:rPr>
              <a:t>(2) </a:t>
            </a:r>
            <a:r>
              <a:rPr lang="ru-RU" sz="2000" b="1" dirty="0">
                <a:latin typeface="Arial"/>
                <a:cs typeface="Arial"/>
              </a:rPr>
              <a:t>Комментарии и/или утверждение Министрами основных результатов</a:t>
            </a:r>
            <a:r>
              <a:rPr lang="en-GB" sz="2000" b="1" dirty="0">
                <a:latin typeface="Arial"/>
                <a:cs typeface="Arial"/>
              </a:rPr>
              <a:t> </a:t>
            </a:r>
            <a:r>
              <a:rPr lang="ru-RU" sz="2000" b="1" dirty="0">
                <a:latin typeface="Arial"/>
                <a:cs typeface="Arial"/>
              </a:rPr>
              <a:t>к </a:t>
            </a:r>
            <a:r>
              <a:rPr lang="en-US" sz="2000" b="1" u="sng" dirty="0">
                <a:solidFill>
                  <a:srgbClr val="FF0000"/>
                </a:solidFill>
                <a:latin typeface="Arial"/>
                <a:cs typeface="Arial"/>
              </a:rPr>
              <a:t>25 </a:t>
            </a:r>
            <a:r>
              <a:rPr lang="ru-RU" sz="2000" b="1" u="sng" dirty="0">
                <a:solidFill>
                  <a:srgbClr val="FF0000"/>
                </a:solidFill>
                <a:latin typeface="Arial"/>
                <a:cs typeface="Arial"/>
              </a:rPr>
              <a:t>октября</a:t>
            </a:r>
            <a:r>
              <a:rPr lang="en-US" sz="2000" b="1" u="sng" dirty="0">
                <a:solidFill>
                  <a:srgbClr val="FF0000"/>
                </a:solidFill>
                <a:latin typeface="Arial"/>
                <a:cs typeface="Arial"/>
              </a:rPr>
              <a:t> 2023</a:t>
            </a:r>
            <a:r>
              <a:rPr lang="ru-RU" sz="2000" b="1" u="sng" dirty="0">
                <a:solidFill>
                  <a:srgbClr val="FF0000"/>
                </a:solidFill>
                <a:latin typeface="Arial"/>
                <a:cs typeface="Arial"/>
              </a:rPr>
              <a:t> г.</a:t>
            </a:r>
            <a:endParaRPr lang="en-US" sz="2000" b="1" u="sng" dirty="0">
              <a:solidFill>
                <a:srgbClr val="FF0000"/>
              </a:solidFill>
              <a:latin typeface="Arial"/>
              <a:cs typeface="Arial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1500" dirty="0">
              <a:latin typeface="Arial"/>
              <a:cs typeface="Arial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ru-RU" sz="1500" dirty="0">
                <a:latin typeface="Arial"/>
                <a:cs typeface="Arial"/>
              </a:rPr>
              <a:t>Видение в области изменения климата 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ru-RU" sz="1500" dirty="0">
                <a:latin typeface="Arial"/>
                <a:cs typeface="Arial"/>
              </a:rPr>
              <a:t>Совместное министерское заявление МК ЦАРЭС, включая поддержку министрами Концептуальной записки для Фонда ЦАРЭС по подготовке проектов в области климата и устойчивости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ru-RU" sz="1500" dirty="0">
                <a:latin typeface="Arial"/>
                <a:cs typeface="Arial"/>
              </a:rPr>
              <a:t>Совместное заявление о разработке Фонда передачи рисков стихийных бедствий в регионе ЦАРЭС</a:t>
            </a:r>
            <a:endParaRPr lang="en-US" sz="1500" dirty="0">
              <a:latin typeface="Arial"/>
              <a:cs typeface="Arial"/>
            </a:endParaRPr>
          </a:p>
          <a:p>
            <a:pPr lvl="1"/>
            <a:endParaRPr lang="en-US" sz="500" b="1" dirty="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2000" b="1" dirty="0">
                <a:latin typeface="Arial"/>
                <a:cs typeface="Arial"/>
              </a:rPr>
              <a:t>(3) </a:t>
            </a:r>
            <a:r>
              <a:rPr lang="ru-RU" sz="2000" b="1" dirty="0">
                <a:latin typeface="Arial"/>
                <a:cs typeface="Arial"/>
              </a:rPr>
              <a:t>Заблаговременное подтверждение участия стран ЦАРЭС на высоком уровне до </a:t>
            </a:r>
            <a:r>
              <a:rPr lang="en-US" sz="2000" b="1" u="sng" dirty="0">
                <a:solidFill>
                  <a:srgbClr val="FF0000"/>
                </a:solidFill>
                <a:latin typeface="Arial"/>
                <a:cs typeface="Arial"/>
              </a:rPr>
              <a:t>30 </a:t>
            </a:r>
            <a:r>
              <a:rPr lang="ru-RU" sz="2000" b="1" u="sng" dirty="0">
                <a:solidFill>
                  <a:srgbClr val="FF0000"/>
                </a:solidFill>
                <a:latin typeface="Arial"/>
                <a:cs typeface="Arial"/>
              </a:rPr>
              <a:t>октября</a:t>
            </a:r>
            <a:r>
              <a:rPr lang="en-US" sz="2000" b="1" u="sng" dirty="0">
                <a:solidFill>
                  <a:srgbClr val="FF0000"/>
                </a:solidFill>
                <a:latin typeface="Arial"/>
                <a:cs typeface="Arial"/>
              </a:rPr>
              <a:t> 2023</a:t>
            </a:r>
            <a:r>
              <a:rPr lang="ru-RU" sz="2000" b="1" u="sng" dirty="0">
                <a:solidFill>
                  <a:srgbClr val="FF0000"/>
                </a:solidFill>
                <a:latin typeface="Arial"/>
                <a:cs typeface="Arial"/>
              </a:rPr>
              <a:t> года</a:t>
            </a:r>
            <a:endParaRPr lang="en-US" sz="2000" b="1" dirty="0">
              <a:latin typeface="Arial"/>
              <a:cs typeface="Arial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1536A2-35D8-8C23-AE01-61635E886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529B93-2171-4743-9770-E2B16911C1C6}" type="slidenum">
              <a:rPr kumimoji="0" lang="en-P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PH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66C8CA1-8AAD-63C7-5D4D-E032CE0FA927}"/>
              </a:ext>
            </a:extLst>
          </p:cNvPr>
          <p:cNvSpPr txBox="1">
            <a:spLocks/>
          </p:cNvSpPr>
          <p:nvPr/>
        </p:nvSpPr>
        <p:spPr>
          <a:xfrm>
            <a:off x="6275541" y="774005"/>
            <a:ext cx="5638278" cy="543524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4)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аблаговременное представление страновых заявлений в Секретариат ЦАРЭС до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0 </a:t>
            </a:r>
            <a:r>
              <a:rPr kumimoji="0" lang="ru-RU" sz="20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оября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2023</a:t>
            </a:r>
            <a:r>
              <a:rPr kumimoji="0" lang="ru-RU" sz="20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года</a:t>
            </a:r>
            <a:endParaRPr kumimoji="0" lang="en-US" sz="2000" b="1" i="0" u="sng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одолжительность 4 минуты, около 400 слов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аявления должны быть сосредоточены на ключевых результатах ЦАРЭС, например, на Видение в области изменения климата, включая предложения по новым проектам или трансформационным инициативам, и продолжающуюся приверженность региональному сотрудничеству 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 вдохновляющее заявление для цитатных карточек или подкастов от министров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5)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овышение видимости Программы ЦАРЭС в стране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6)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апрос на проведение двусторонних встреч, если 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аковые необходимы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0090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EB857823-B825-34D7-E0B7-B0C97C0C2C81}"/>
              </a:ext>
            </a:extLst>
          </p:cNvPr>
          <p:cNvGrpSpPr/>
          <p:nvPr/>
        </p:nvGrpSpPr>
        <p:grpSpPr>
          <a:xfrm>
            <a:off x="16084" y="299818"/>
            <a:ext cx="4837911" cy="4457042"/>
            <a:chOff x="16084" y="299818"/>
            <a:chExt cx="4837911" cy="4457042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B6817F81-ECF0-43E5-D0E4-C9B1F5C532B5}"/>
                </a:ext>
              </a:extLst>
            </p:cNvPr>
            <p:cNvSpPr/>
            <p:nvPr/>
          </p:nvSpPr>
          <p:spPr>
            <a:xfrm>
              <a:off x="24328" y="469485"/>
              <a:ext cx="3537888" cy="4206240"/>
            </a:xfrm>
            <a:custGeom>
              <a:avLst/>
              <a:gdLst>
                <a:gd name="connsiteX0" fmla="*/ 1434768 w 3537888"/>
                <a:gd name="connsiteY0" fmla="*/ 0 h 4206240"/>
                <a:gd name="connsiteX1" fmla="*/ 3537888 w 3537888"/>
                <a:gd name="connsiteY1" fmla="*/ 2103120 h 4206240"/>
                <a:gd name="connsiteX2" fmla="*/ 1434768 w 3537888"/>
                <a:gd name="connsiteY2" fmla="*/ 4206240 h 4206240"/>
                <a:gd name="connsiteX3" fmla="*/ 96988 w 3537888"/>
                <a:gd name="connsiteY3" fmla="*/ 3725990 h 4206240"/>
                <a:gd name="connsiteX4" fmla="*/ 0 w 3537888"/>
                <a:gd name="connsiteY4" fmla="*/ 3637841 h 4206240"/>
                <a:gd name="connsiteX5" fmla="*/ 0 w 3537888"/>
                <a:gd name="connsiteY5" fmla="*/ 568400 h 4206240"/>
                <a:gd name="connsiteX6" fmla="*/ 96988 w 3537888"/>
                <a:gd name="connsiteY6" fmla="*/ 480251 h 4206240"/>
                <a:gd name="connsiteX7" fmla="*/ 1434768 w 3537888"/>
                <a:gd name="connsiteY7" fmla="*/ 0 h 4206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37888" h="4206240">
                  <a:moveTo>
                    <a:pt x="1434768" y="0"/>
                  </a:moveTo>
                  <a:cubicBezTo>
                    <a:pt x="2596289" y="0"/>
                    <a:pt x="3537888" y="941599"/>
                    <a:pt x="3537888" y="2103120"/>
                  </a:cubicBezTo>
                  <a:cubicBezTo>
                    <a:pt x="3537888" y="3264641"/>
                    <a:pt x="2596289" y="4206240"/>
                    <a:pt x="1434768" y="4206240"/>
                  </a:cubicBezTo>
                  <a:cubicBezTo>
                    <a:pt x="926603" y="4206240"/>
                    <a:pt x="460532" y="4026012"/>
                    <a:pt x="96988" y="3725990"/>
                  </a:cubicBezTo>
                  <a:lnTo>
                    <a:pt x="0" y="3637841"/>
                  </a:lnTo>
                  <a:lnTo>
                    <a:pt x="0" y="568400"/>
                  </a:lnTo>
                  <a:lnTo>
                    <a:pt x="96988" y="480251"/>
                  </a:lnTo>
                  <a:cubicBezTo>
                    <a:pt x="460532" y="180228"/>
                    <a:pt x="926603" y="0"/>
                    <a:pt x="1434768" y="0"/>
                  </a:cubicBez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99CCACB-0191-48BD-0481-98F3EEAC29AB}"/>
                </a:ext>
              </a:extLst>
            </p:cNvPr>
            <p:cNvSpPr/>
            <p:nvPr/>
          </p:nvSpPr>
          <p:spPr>
            <a:xfrm>
              <a:off x="16084" y="451975"/>
              <a:ext cx="3549206" cy="4208960"/>
            </a:xfrm>
            <a:custGeom>
              <a:avLst/>
              <a:gdLst>
                <a:gd name="connsiteX0" fmla="*/ 1381751 w 3549206"/>
                <a:gd name="connsiteY0" fmla="*/ 944 h 4208960"/>
                <a:gd name="connsiteX1" fmla="*/ 2714848 w 3549206"/>
                <a:gd name="connsiteY1" fmla="*/ 426568 h 4208960"/>
                <a:gd name="connsiteX2" fmla="*/ 3354837 w 3549206"/>
                <a:gd name="connsiteY2" fmla="*/ 2987357 h 4208960"/>
                <a:gd name="connsiteX3" fmla="*/ 989544 w 3549206"/>
                <a:gd name="connsiteY3" fmla="*/ 4158943 h 4208960"/>
                <a:gd name="connsiteX4" fmla="*/ 42509 w 3549206"/>
                <a:gd name="connsiteY4" fmla="*/ 3673674 h 4208960"/>
                <a:gd name="connsiteX5" fmla="*/ 0 w 3549206"/>
                <a:gd name="connsiteY5" fmla="*/ 3632349 h 4208960"/>
                <a:gd name="connsiteX6" fmla="*/ 0 w 3549206"/>
                <a:gd name="connsiteY6" fmla="*/ 670937 h 4208960"/>
                <a:gd name="connsiteX7" fmla="*/ 76478 w 3549206"/>
                <a:gd name="connsiteY7" fmla="*/ 505491 h 4208960"/>
                <a:gd name="connsiteX8" fmla="*/ 1381751 w 3549206"/>
                <a:gd name="connsiteY8" fmla="*/ 944 h 420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49206" h="4208960">
                  <a:moveTo>
                    <a:pt x="1381751" y="944"/>
                  </a:moveTo>
                  <a:cubicBezTo>
                    <a:pt x="1848807" y="-13028"/>
                    <a:pt x="2320501" y="128030"/>
                    <a:pt x="2714848" y="426568"/>
                  </a:cubicBezTo>
                  <a:cubicBezTo>
                    <a:pt x="3503542" y="1023645"/>
                    <a:pt x="3769903" y="2089437"/>
                    <a:pt x="3354837" y="2987357"/>
                  </a:cubicBezTo>
                  <a:cubicBezTo>
                    <a:pt x="2939771" y="3885276"/>
                    <a:pt x="1955343" y="4372887"/>
                    <a:pt x="989544" y="4158943"/>
                  </a:cubicBezTo>
                  <a:cubicBezTo>
                    <a:pt x="627370" y="4078714"/>
                    <a:pt x="304484" y="3907952"/>
                    <a:pt x="42509" y="3673674"/>
                  </a:cubicBezTo>
                  <a:lnTo>
                    <a:pt x="0" y="3632349"/>
                  </a:lnTo>
                  <a:lnTo>
                    <a:pt x="0" y="670937"/>
                  </a:lnTo>
                  <a:lnTo>
                    <a:pt x="76478" y="505491"/>
                  </a:lnTo>
                  <a:cubicBezTo>
                    <a:pt x="452275" y="183915"/>
                    <a:pt x="914694" y="14915"/>
                    <a:pt x="1381751" y="944"/>
                  </a:cubicBezTo>
                  <a:close/>
                </a:path>
              </a:pathLst>
            </a:custGeom>
            <a:ln w="38100" cap="rnd">
              <a:solidFill>
                <a:schemeClr val="bg1">
                  <a:lumMod val="85000"/>
                </a:schemeClr>
              </a:solidFill>
              <a:round/>
            </a:ln>
            <a:effectLst>
              <a:outerShdw blurRad="279400" dist="88900" dir="282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ko-KR" alt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FAD4137-10DD-374D-68EA-55F9142F9E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81836" y="747446"/>
              <a:ext cx="323466" cy="323466"/>
            </a:xfrm>
            <a:prstGeom prst="ellipse">
              <a:avLst/>
            </a:prstGeom>
            <a:solidFill>
              <a:schemeClr val="bg1"/>
            </a:solidFill>
            <a:ln w="25400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A30DC6F-E525-8475-4909-96FBCB428FB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03395" y="2394618"/>
              <a:ext cx="323466" cy="323466"/>
            </a:xfrm>
            <a:prstGeom prst="ellipse">
              <a:avLst/>
            </a:prstGeom>
            <a:solidFill>
              <a:schemeClr val="bg1"/>
            </a:solidFill>
            <a:ln w="25400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6DA5EC3-0907-FD74-04A8-277DE63C0DE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81836" y="4028343"/>
              <a:ext cx="323466" cy="323466"/>
            </a:xfrm>
            <a:prstGeom prst="ellipse">
              <a:avLst/>
            </a:prstGeom>
            <a:solidFill>
              <a:schemeClr val="bg1"/>
            </a:solidFill>
            <a:ln w="25400" cap="rnd">
              <a:solidFill>
                <a:schemeClr val="bg1">
                  <a:lumMod val="8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BB54BA9-563B-DB3E-5C55-15D752B88F1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65275" y="1961991"/>
              <a:ext cx="1188720" cy="1188720"/>
            </a:xfrm>
            <a:prstGeom prst="ellipse">
              <a:avLst/>
            </a:prstGeom>
            <a:noFill/>
            <a:ln w="63500" cap="rnd">
              <a:solidFill>
                <a:srgbClr val="F8625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E9E1CE59-35AD-58E9-8F36-164C55322D2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03850" y="3568140"/>
              <a:ext cx="1188720" cy="1188720"/>
            </a:xfrm>
            <a:prstGeom prst="ellipse">
              <a:avLst/>
            </a:prstGeom>
            <a:noFill/>
            <a:ln w="63500" cap="rnd">
              <a:solidFill>
                <a:srgbClr val="00B0F0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E6E3D6E-B531-2A5C-0D71-4E700E99E33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25999" y="299818"/>
              <a:ext cx="1188720" cy="1188720"/>
            </a:xfrm>
            <a:prstGeom prst="ellipse">
              <a:avLst/>
            </a:prstGeom>
            <a:noFill/>
            <a:ln w="63500" cap="rnd">
              <a:solidFill>
                <a:srgbClr val="00B050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A6FF9FF-B614-AF80-7AAF-BC474D725CEE}"/>
                </a:ext>
              </a:extLst>
            </p:cNvPr>
            <p:cNvSpPr/>
            <p:nvPr/>
          </p:nvSpPr>
          <p:spPr>
            <a:xfrm>
              <a:off x="3263159" y="436978"/>
              <a:ext cx="914400" cy="914400"/>
            </a:xfrm>
            <a:prstGeom prst="ellipse">
              <a:avLst/>
            </a:prstGeom>
            <a:solidFill>
              <a:srgbClr val="00B050">
                <a:alpha val="65000"/>
              </a:srgbClr>
            </a:solidFill>
            <a:ln w="25400" cap="rnd">
              <a:noFill/>
              <a:round/>
            </a:ln>
            <a:effectLst>
              <a:outerShdw blurRad="177800" dist="88900" dir="2700000" algn="tl" rotWithShape="0">
                <a:prstClr val="black">
                  <a:alpha val="28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40B35DD-A68C-DDA0-25C1-F2E90FE47F9A}"/>
                </a:ext>
              </a:extLst>
            </p:cNvPr>
            <p:cNvSpPr/>
            <p:nvPr/>
          </p:nvSpPr>
          <p:spPr>
            <a:xfrm>
              <a:off x="3802435" y="2099151"/>
              <a:ext cx="914400" cy="914400"/>
            </a:xfrm>
            <a:prstGeom prst="ellipse">
              <a:avLst/>
            </a:prstGeom>
            <a:solidFill>
              <a:srgbClr val="F86252">
                <a:alpha val="65000"/>
              </a:srgbClr>
            </a:solidFill>
            <a:ln w="25400" cap="rnd">
              <a:noFill/>
              <a:round/>
            </a:ln>
            <a:effectLst>
              <a:outerShdw blurRad="177800" dist="88900" dir="2700000" algn="tl" rotWithShape="0">
                <a:prstClr val="black">
                  <a:alpha val="28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89671657-6B95-36AC-D702-E4D8E739BDE2}"/>
                </a:ext>
              </a:extLst>
            </p:cNvPr>
            <p:cNvSpPr/>
            <p:nvPr/>
          </p:nvSpPr>
          <p:spPr>
            <a:xfrm>
              <a:off x="3341010" y="3707290"/>
              <a:ext cx="914400" cy="914400"/>
            </a:xfrm>
            <a:prstGeom prst="ellipse">
              <a:avLst/>
            </a:prstGeom>
            <a:solidFill>
              <a:srgbClr val="00B0F0">
                <a:alpha val="65000"/>
              </a:srgbClr>
            </a:solidFill>
            <a:ln w="25400" cap="rnd">
              <a:noFill/>
              <a:round/>
            </a:ln>
            <a:effectLst>
              <a:outerShdw blurRad="177800" dist="88900" dir="2700000" algn="tl" rotWithShape="0">
                <a:prstClr val="black">
                  <a:alpha val="28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F4B496C-513B-7E64-3716-5AA810D30342}"/>
                </a:ext>
              </a:extLst>
            </p:cNvPr>
            <p:cNvSpPr txBox="1"/>
            <p:nvPr/>
          </p:nvSpPr>
          <p:spPr>
            <a:xfrm>
              <a:off x="3459088" y="540235"/>
              <a:ext cx="42901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 b="1">
                  <a:solidFill>
                    <a:schemeClr val="bg1"/>
                  </a:solidFill>
                  <a:latin typeface="Abadi" panose="020B0604020104020204" pitchFamily="34" charset="0"/>
                </a:rPr>
                <a:t>1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43D65FA-1444-0201-7704-0E299B0A3F33}"/>
                </a:ext>
              </a:extLst>
            </p:cNvPr>
            <p:cNvSpPr txBox="1"/>
            <p:nvPr/>
          </p:nvSpPr>
          <p:spPr>
            <a:xfrm>
              <a:off x="4008378" y="2201434"/>
              <a:ext cx="42901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 b="1">
                  <a:solidFill>
                    <a:schemeClr val="bg1"/>
                  </a:solidFill>
                  <a:latin typeface="Abadi" panose="020B0604020104020204" pitchFamily="34" charset="0"/>
                </a:rPr>
                <a:t>2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7CA71913-92FD-9826-4036-C653F3DC0CFD}"/>
                </a:ext>
              </a:extLst>
            </p:cNvPr>
            <p:cNvSpPr txBox="1"/>
            <p:nvPr/>
          </p:nvSpPr>
          <p:spPr>
            <a:xfrm>
              <a:off x="3556674" y="3798699"/>
              <a:ext cx="42901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 b="1">
                  <a:solidFill>
                    <a:schemeClr val="bg1"/>
                  </a:solidFill>
                  <a:latin typeface="Abadi" panose="020B0604020104020204" pitchFamily="34" charset="0"/>
                </a:rPr>
                <a:t>3</a:t>
              </a:r>
            </a:p>
          </p:txBody>
        </p:sp>
      </p:grp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BC9B7B6C-3DB0-7317-2A1B-ED9B26435E16}"/>
              </a:ext>
            </a:extLst>
          </p:cNvPr>
          <p:cNvSpPr/>
          <p:nvPr/>
        </p:nvSpPr>
        <p:spPr>
          <a:xfrm>
            <a:off x="4477315" y="825182"/>
            <a:ext cx="2014231" cy="902338"/>
          </a:xfrm>
          <a:prstGeom prst="roundRect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solidFill>
                <a:schemeClr val="tx1"/>
              </a:solidFill>
              <a:latin typeface="Abadi" panose="020B0604020104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4ADE12E-8E20-39C6-8609-D4B64895ACEC}"/>
              </a:ext>
            </a:extLst>
          </p:cNvPr>
          <p:cNvSpPr txBox="1"/>
          <p:nvPr/>
        </p:nvSpPr>
        <p:spPr>
          <a:xfrm>
            <a:off x="186924" y="1331326"/>
            <a:ext cx="3381996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badi" panose="020B0604020104020204" pitchFamily="34" charset="0"/>
                <a:cs typeface="Arial" panose="020B0604020202020204" pitchFamily="34" charset="0"/>
              </a:rPr>
              <a:t>Дорожная карта ЦАРЭС в области изменения климата</a:t>
            </a:r>
            <a:endParaRPr lang="en-US" sz="34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badi" panose="020B0604020104020204" pitchFamily="34" charset="0"/>
            </a:endParaRPr>
          </a:p>
        </p:txBody>
      </p:sp>
      <p:pic>
        <p:nvPicPr>
          <p:cNvPr id="29" name="Picture 28" descr="A logo with a red and yellow circle&#10;&#10;Description automatically generated">
            <a:extLst>
              <a:ext uri="{FF2B5EF4-FFF2-40B4-BE49-F238E27FC236}">
                <a16:creationId xmlns:a16="http://schemas.microsoft.com/office/drawing/2014/main" id="{91D88772-FC29-A09A-7177-56C64680ED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564" y="5556631"/>
            <a:ext cx="1028221" cy="1028221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57ABF97D-3F7B-B990-83C2-E510467679FC}"/>
              </a:ext>
            </a:extLst>
          </p:cNvPr>
          <p:cNvSpPr txBox="1"/>
          <p:nvPr/>
        </p:nvSpPr>
        <p:spPr>
          <a:xfrm>
            <a:off x="4399461" y="156336"/>
            <a:ext cx="4642462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latin typeface="Abadi" panose="020B0604020104020204" pitchFamily="34" charset="0"/>
              </a:rPr>
              <a:t>Этап</a:t>
            </a:r>
            <a:r>
              <a:rPr lang="en-GB" sz="2000" b="1" dirty="0">
                <a:latin typeface="Abadi" panose="020B0604020104020204" pitchFamily="34" charset="0"/>
              </a:rPr>
              <a:t> I: </a:t>
            </a:r>
            <a:r>
              <a:rPr lang="ru-RU" sz="2000" b="1" dirty="0">
                <a:latin typeface="Abadi" panose="020B0604020104020204" pitchFamily="34" charset="0"/>
              </a:rPr>
              <a:t>Этап </a:t>
            </a:r>
            <a:r>
              <a:rPr lang="en-GB" sz="2000" b="1" dirty="0">
                <a:latin typeface="Abadi" panose="020B0604020104020204" pitchFamily="34" charset="0"/>
              </a:rPr>
              <a:t>I: </a:t>
            </a:r>
            <a:r>
              <a:rPr lang="ru-RU" sz="2000" b="1" dirty="0">
                <a:latin typeface="Abadi" panose="020B0604020104020204" pitchFamily="34" charset="0"/>
              </a:rPr>
              <a:t>Стратегический анализ</a:t>
            </a:r>
            <a:endParaRPr lang="en-GB" sz="2000" b="1" dirty="0">
              <a:latin typeface="Abadi" panose="020B0604020104020204" pitchFamily="34" charset="0"/>
            </a:endParaRPr>
          </a:p>
          <a:p>
            <a:r>
              <a:rPr lang="en-GB" sz="1400" dirty="0">
                <a:latin typeface="Abadi" panose="020B0604020104020204" pitchFamily="34" charset="0"/>
              </a:rPr>
              <a:t>(2024-2025</a:t>
            </a:r>
            <a:r>
              <a:rPr lang="ru-RU" sz="1400" dirty="0">
                <a:latin typeface="Abadi" panose="020B0604020104020204" pitchFamily="34" charset="0"/>
              </a:rPr>
              <a:t>гг.</a:t>
            </a:r>
            <a:r>
              <a:rPr lang="en-GB" sz="1400" dirty="0">
                <a:latin typeface="Abadi" panose="020B0604020104020204" pitchFamily="34" charset="0"/>
              </a:rPr>
              <a:t>)</a:t>
            </a:r>
            <a:endParaRPr lang="en-GB" sz="1400" dirty="0">
              <a:latin typeface="Abadi" panose="020B0604020104020204" pitchFamily="34" charset="0"/>
              <a:cs typeface="Calibri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2C7C53E-FE6A-129F-AE91-B1E603DFF8EF}"/>
              </a:ext>
            </a:extLst>
          </p:cNvPr>
          <p:cNvSpPr txBox="1"/>
          <p:nvPr/>
        </p:nvSpPr>
        <p:spPr>
          <a:xfrm>
            <a:off x="5059938" y="2086620"/>
            <a:ext cx="65997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latin typeface="Abadi" panose="020B0604020104020204" pitchFamily="34" charset="0"/>
              </a:rPr>
              <a:t>Этап</a:t>
            </a:r>
            <a:r>
              <a:rPr lang="en-GB" sz="2000" b="1" dirty="0">
                <a:latin typeface="Abadi" panose="020B0604020104020204" pitchFamily="34" charset="0"/>
              </a:rPr>
              <a:t> II: </a:t>
            </a:r>
            <a:r>
              <a:rPr lang="ru-RU" sz="2000" b="1" dirty="0">
                <a:latin typeface="Abadi" panose="020B0604020104020204" pitchFamily="34" charset="0"/>
              </a:rPr>
              <a:t>Дорожная карта и инвестиционный план</a:t>
            </a:r>
            <a:endParaRPr lang="en-GB" sz="2000" b="1" dirty="0">
              <a:latin typeface="Abadi" panose="020B0604020104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7138BC0-84D7-6C50-302C-DAD2D5215259}"/>
              </a:ext>
            </a:extLst>
          </p:cNvPr>
          <p:cNvSpPr txBox="1"/>
          <p:nvPr/>
        </p:nvSpPr>
        <p:spPr>
          <a:xfrm>
            <a:off x="4471074" y="3771704"/>
            <a:ext cx="64530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latin typeface="Abadi" panose="020B0604020104020204" pitchFamily="34" charset="0"/>
              </a:rPr>
              <a:t>Этап</a:t>
            </a:r>
            <a:r>
              <a:rPr lang="en-GB" sz="2000" b="1" dirty="0">
                <a:latin typeface="Abadi" panose="020B0604020104020204" pitchFamily="34" charset="0"/>
              </a:rPr>
              <a:t> III: </a:t>
            </a:r>
            <a:r>
              <a:rPr lang="ru-RU" sz="2000" b="1" dirty="0">
                <a:latin typeface="Abadi" panose="020B0604020104020204" pitchFamily="34" charset="0"/>
              </a:rPr>
              <a:t>Преимущества ЦАРЭС в реализации повестки дня в области изменения климата</a:t>
            </a:r>
            <a:endParaRPr lang="en-GB" sz="1400" dirty="0">
              <a:latin typeface="Abadi" panose="020B0604020104020204" pitchFamily="34" charset="0"/>
              <a:cs typeface="Calibri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FD8896EA-3A56-1919-2B06-85AAC7D99799}"/>
              </a:ext>
            </a:extLst>
          </p:cNvPr>
          <p:cNvSpPr/>
          <p:nvPr/>
        </p:nvSpPr>
        <p:spPr>
          <a:xfrm>
            <a:off x="5018641" y="2518569"/>
            <a:ext cx="6476359" cy="121320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anose="020B0604020202020204" pitchFamily="34" charset="0"/>
              <a:buChar char="•"/>
              <a:tabLst>
                <a:tab pos="169863" algn="l"/>
              </a:tabLst>
            </a:pPr>
            <a:r>
              <a:rPr lang="ru-RU" dirty="0">
                <a:solidFill>
                  <a:schemeClr val="tx1"/>
                </a:solidFill>
                <a:latin typeface="Abadi" panose="020B0604020104020204" pitchFamily="34" charset="0"/>
              </a:rPr>
              <a:t>Разработаны</a:t>
            </a:r>
            <a:r>
              <a:rPr lang="ru-RU" b="1" dirty="0">
                <a:solidFill>
                  <a:schemeClr val="tx1"/>
                </a:solidFill>
                <a:latin typeface="Abadi" panose="020B0604020104020204" pitchFamily="34" charset="0"/>
              </a:rPr>
              <a:t> План действий и портфель готовящихся проектов ЦАРЭС в области изменения климата</a:t>
            </a:r>
          </a:p>
          <a:p>
            <a:pPr marL="342900" indent="-342900">
              <a:buFont typeface="Arial" panose="020B0604020202020204" pitchFamily="34" charset="0"/>
              <a:buChar char="•"/>
              <a:tabLst>
                <a:tab pos="169863" algn="l"/>
              </a:tabLst>
            </a:pPr>
            <a:r>
              <a:rPr lang="ru-RU" dirty="0">
                <a:solidFill>
                  <a:schemeClr val="tx1"/>
                </a:solidFill>
                <a:latin typeface="Abadi" panose="020B0604020104020204" pitchFamily="34" charset="0"/>
              </a:rPr>
              <a:t>Изменение климата является</a:t>
            </a:r>
            <a:r>
              <a:rPr lang="ru-RU" b="1" dirty="0">
                <a:solidFill>
                  <a:schemeClr val="tx1"/>
                </a:solidFill>
                <a:latin typeface="Abadi" panose="020B0604020104020204" pitchFamily="34" charset="0"/>
              </a:rPr>
              <a:t> сквозным операционным приоритетом </a:t>
            </a:r>
            <a:r>
              <a:rPr lang="ru-RU" dirty="0">
                <a:solidFill>
                  <a:schemeClr val="tx1"/>
                </a:solidFill>
                <a:latin typeface="Abadi" panose="020B0604020104020204" pitchFamily="34" charset="0"/>
              </a:rPr>
              <a:t>в Стратегии ЦАРЭС 2030</a:t>
            </a:r>
            <a:endParaRPr lang="en-US" dirty="0">
              <a:solidFill>
                <a:schemeClr val="tx1"/>
              </a:solidFill>
              <a:latin typeface="Abadi" panose="020B0604020104020204" pitchFamily="34" charset="0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9C7269D1-C5D6-22C3-B47E-C8AC7DDA19DA}"/>
              </a:ext>
            </a:extLst>
          </p:cNvPr>
          <p:cNvSpPr/>
          <p:nvPr/>
        </p:nvSpPr>
        <p:spPr>
          <a:xfrm>
            <a:off x="4780744" y="827434"/>
            <a:ext cx="1710802" cy="90008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Abadi" panose="020B0604020104020204" pitchFamily="34" charset="0"/>
              </a:rPr>
              <a:t>Оценка</a:t>
            </a:r>
            <a:r>
              <a:rPr lang="ru-RU" sz="1600" b="1" dirty="0">
                <a:solidFill>
                  <a:schemeClr val="tx1"/>
                </a:solidFill>
                <a:latin typeface="Abadi" panose="020B0604020104020204" pitchFamily="34" charset="0"/>
              </a:rPr>
              <a:t> ОНУВ и национальных планов по адаптации</a:t>
            </a:r>
            <a:endParaRPr lang="en-GB" sz="1600" dirty="0">
              <a:solidFill>
                <a:schemeClr val="tx1"/>
              </a:solidFill>
              <a:latin typeface="Abadi" panose="020B0604020104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DEE1A5F-84F1-80F3-EC71-D99FC3C639A0}"/>
              </a:ext>
            </a:extLst>
          </p:cNvPr>
          <p:cNvSpPr txBox="1"/>
          <p:nvPr/>
        </p:nvSpPr>
        <p:spPr>
          <a:xfrm rot="16200000">
            <a:off x="4056303" y="1142879"/>
            <a:ext cx="1096074" cy="267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badi" panose="020B0604020104020204" pitchFamily="34" charset="0"/>
              </a:rPr>
              <a:t>Нац. уровень</a:t>
            </a:r>
            <a:endParaRPr lang="en-US" sz="1100" b="1" dirty="0">
              <a:solidFill>
                <a:schemeClr val="bg1"/>
              </a:solidFill>
              <a:latin typeface="Abadi" panose="020B0604020104020204" pitchFamily="34" charset="0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4A0B062B-8B05-0257-76F9-54E4F6B47EDD}"/>
              </a:ext>
            </a:extLst>
          </p:cNvPr>
          <p:cNvSpPr/>
          <p:nvPr/>
        </p:nvSpPr>
        <p:spPr>
          <a:xfrm>
            <a:off x="6663887" y="765752"/>
            <a:ext cx="2506008" cy="964513"/>
          </a:xfrm>
          <a:prstGeom prst="roundRect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solidFill>
                <a:schemeClr val="tx1"/>
              </a:solidFill>
              <a:latin typeface="Abadi" panose="020B0604020104020204" pitchFamily="34" charset="0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F1D432EC-D884-E8DA-7F77-5DF95B4A7F8C}"/>
              </a:ext>
            </a:extLst>
          </p:cNvPr>
          <p:cNvSpPr/>
          <p:nvPr/>
        </p:nvSpPr>
        <p:spPr>
          <a:xfrm>
            <a:off x="7009577" y="783448"/>
            <a:ext cx="2253444" cy="93709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dirty="0">
                <a:solidFill>
                  <a:schemeClr val="tx1"/>
                </a:solidFill>
                <a:latin typeface="Abadi" panose="020B0604020104020204" pitchFamily="34" charset="0"/>
              </a:rPr>
              <a:t>Пересмотр </a:t>
            </a:r>
            <a:r>
              <a:rPr lang="ru-RU" sz="2000" b="1" dirty="0">
                <a:solidFill>
                  <a:schemeClr val="tx1"/>
                </a:solidFill>
                <a:latin typeface="Abadi" panose="020B0604020104020204" pitchFamily="34" charset="0"/>
              </a:rPr>
              <a:t>стратегий и программ </a:t>
            </a:r>
            <a:r>
              <a:rPr lang="ru-RU" sz="2000" dirty="0">
                <a:solidFill>
                  <a:schemeClr val="tx1"/>
                </a:solidFill>
                <a:latin typeface="Abadi" panose="020B0604020104020204" pitchFamily="34" charset="0"/>
              </a:rPr>
              <a:t>ЦАРЭС</a:t>
            </a:r>
            <a:endParaRPr lang="en-US" sz="2000" dirty="0">
              <a:solidFill>
                <a:schemeClr val="tx1"/>
              </a:solidFill>
              <a:latin typeface="Abadi" panose="020B0604020104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6C7C93C-28F3-5400-4CF8-9822EA43D922}"/>
              </a:ext>
            </a:extLst>
          </p:cNvPr>
          <p:cNvSpPr txBox="1"/>
          <p:nvPr/>
        </p:nvSpPr>
        <p:spPr>
          <a:xfrm rot="16200000">
            <a:off x="6444130" y="1043416"/>
            <a:ext cx="9370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badi" panose="020B0604020104020204" pitchFamily="34" charset="0"/>
              </a:rPr>
              <a:t>ЦАРЭС</a:t>
            </a:r>
            <a:endParaRPr lang="en-US" sz="1400" b="1" dirty="0">
              <a:solidFill>
                <a:schemeClr val="bg1"/>
              </a:solidFill>
              <a:latin typeface="Abadi" panose="020B0604020104020204" pitchFamily="34" charset="0"/>
            </a:endParaRPr>
          </a:p>
        </p:txBody>
      </p:sp>
      <p:sp>
        <p:nvSpPr>
          <p:cNvPr id="4" name="Rectangle: Rounded Corners 47">
            <a:extLst>
              <a:ext uri="{FF2B5EF4-FFF2-40B4-BE49-F238E27FC236}">
                <a16:creationId xmlns:a16="http://schemas.microsoft.com/office/drawing/2014/main" id="{3D2925F8-551F-84E4-A193-5D9E567B89B5}"/>
              </a:ext>
            </a:extLst>
          </p:cNvPr>
          <p:cNvSpPr/>
          <p:nvPr/>
        </p:nvSpPr>
        <p:spPr>
          <a:xfrm>
            <a:off x="4495307" y="4438520"/>
            <a:ext cx="7450837" cy="223622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92125" lvl="2" indent="-398145">
              <a:buFont typeface="Arial" panose="020B0604020202020204" pitchFamily="34" charset="0"/>
              <a:buChar char="•"/>
            </a:pPr>
            <a:r>
              <a:rPr lang="ru-RU" sz="1700" b="1" dirty="0">
                <a:solidFill>
                  <a:srgbClr val="000000"/>
                </a:solidFill>
                <a:latin typeface="Abadi" panose="020B0604020104020204" pitchFamily="34" charset="0"/>
                <a:ea typeface="SimSun"/>
                <a:cs typeface="Times New Roman"/>
              </a:rPr>
              <a:t>Разработка планов и инструментов климатического финансирования </a:t>
            </a:r>
          </a:p>
          <a:p>
            <a:pPr marL="492125" lvl="2" indent="-398145">
              <a:buFont typeface="Arial" panose="020B0604020202020204" pitchFamily="34" charset="0"/>
              <a:buChar char="•"/>
            </a:pPr>
            <a:r>
              <a:rPr lang="ru-RU" sz="1700" b="1" dirty="0">
                <a:solidFill>
                  <a:srgbClr val="000000"/>
                </a:solidFill>
                <a:latin typeface="Abadi" panose="020B0604020104020204" pitchFamily="34" charset="0"/>
                <a:ea typeface="SimSun"/>
                <a:cs typeface="Times New Roman"/>
              </a:rPr>
              <a:t>Усиление координации и синергии между ПР </a:t>
            </a:r>
          </a:p>
          <a:p>
            <a:pPr marL="492125" lvl="2" indent="-398145">
              <a:buFont typeface="Arial" panose="020B0604020202020204" pitchFamily="34" charset="0"/>
              <a:buChar char="•"/>
            </a:pPr>
            <a:r>
              <a:rPr lang="ru-RU" sz="1700" b="1" dirty="0">
                <a:solidFill>
                  <a:srgbClr val="000000"/>
                </a:solidFill>
                <a:latin typeface="Abadi" panose="020B0604020104020204" pitchFamily="34" charset="0"/>
                <a:ea typeface="SimSun"/>
                <a:cs typeface="Times New Roman"/>
              </a:rPr>
              <a:t>Повышение потенциала подготовки проектов</a:t>
            </a:r>
          </a:p>
          <a:p>
            <a:pPr marL="492125" lvl="2" indent="-398145">
              <a:buFont typeface="Arial" panose="020B0604020202020204" pitchFamily="34" charset="0"/>
              <a:buChar char="•"/>
            </a:pPr>
            <a:r>
              <a:rPr lang="ru-RU" sz="1700" b="1" dirty="0">
                <a:solidFill>
                  <a:srgbClr val="000000"/>
                </a:solidFill>
                <a:latin typeface="Abadi" panose="020B0604020104020204" pitchFamily="34" charset="0"/>
                <a:ea typeface="SimSun"/>
                <a:cs typeface="Times New Roman"/>
              </a:rPr>
              <a:t>Расширение доступа к климатическим фондам </a:t>
            </a:r>
          </a:p>
          <a:p>
            <a:pPr marL="492125" lvl="2" indent="-398145">
              <a:buFont typeface="Arial" panose="020B0604020202020204" pitchFamily="34" charset="0"/>
              <a:buChar char="•"/>
            </a:pPr>
            <a:r>
              <a:rPr lang="ru-RU" sz="1700" b="1" dirty="0">
                <a:solidFill>
                  <a:srgbClr val="000000"/>
                </a:solidFill>
                <a:latin typeface="Abadi" panose="020B0604020104020204" pitchFamily="34" charset="0"/>
                <a:ea typeface="SimSun"/>
                <a:cs typeface="Times New Roman"/>
              </a:rPr>
              <a:t>Совершенствование инструментов финансирования управления рисками стихийных бедствий </a:t>
            </a:r>
          </a:p>
          <a:p>
            <a:pPr marL="492125" lvl="2" indent="-398145">
              <a:buFont typeface="Arial" panose="020B0604020202020204" pitchFamily="34" charset="0"/>
              <a:buChar char="•"/>
            </a:pPr>
            <a:r>
              <a:rPr lang="ru-RU" sz="1700" b="1" dirty="0">
                <a:solidFill>
                  <a:srgbClr val="000000"/>
                </a:solidFill>
                <a:latin typeface="Abadi" panose="020B0604020104020204" pitchFamily="34" charset="0"/>
                <a:ea typeface="SimSun"/>
                <a:cs typeface="Times New Roman"/>
              </a:rPr>
              <a:t>Разработка инновационных региональных климатических проектов</a:t>
            </a:r>
            <a:endParaRPr lang="en-US" sz="1700" b="1" dirty="0">
              <a:solidFill>
                <a:srgbClr val="000000"/>
              </a:solidFill>
              <a:effectLst/>
              <a:latin typeface="Abadi" panose="020B060402010402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EE2090-0866-BB38-57AF-23150D58D7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382706">
            <a:off x="8925734" y="128708"/>
            <a:ext cx="1266995" cy="164709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2AF2852-D85A-F57F-2576-23A495CE66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1036195">
            <a:off x="9439744" y="36617"/>
            <a:ext cx="1350191" cy="175524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0026DD1-2656-705B-7F2C-D50B38CDBE5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71208" y="58421"/>
            <a:ext cx="1308858" cy="170151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15CBE93-7760-2FFD-C2E7-2C2FBF8032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740832">
            <a:off x="10515611" y="112177"/>
            <a:ext cx="1427544" cy="185580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13381B8-6F56-F255-C6F0-F15E9AC5DE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09958">
            <a:off x="11070598" y="338131"/>
            <a:ext cx="1439944" cy="1871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2892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>
            <a:extLst>
              <a:ext uri="{FF2B5EF4-FFF2-40B4-BE49-F238E27FC236}">
                <a16:creationId xmlns:a16="http://schemas.microsoft.com/office/drawing/2014/main" id="{C2C6D3A8-5CBF-D040-E6E0-BCE92E8B9836}"/>
              </a:ext>
            </a:extLst>
          </p:cNvPr>
          <p:cNvGrpSpPr/>
          <p:nvPr/>
        </p:nvGrpSpPr>
        <p:grpSpPr>
          <a:xfrm>
            <a:off x="259938" y="1215232"/>
            <a:ext cx="5912739" cy="4480446"/>
            <a:chOff x="7400349" y="4218155"/>
            <a:chExt cx="4003572" cy="2645308"/>
          </a:xfrm>
        </p:grpSpPr>
        <p:sp>
          <p:nvSpPr>
            <p:cNvPr id="21" name="Rectangle: Rounded Corners 16">
              <a:extLst>
                <a:ext uri="{FF2B5EF4-FFF2-40B4-BE49-F238E27FC236}">
                  <a16:creationId xmlns:a16="http://schemas.microsoft.com/office/drawing/2014/main" id="{E4B3EB4A-2192-DB0F-5B46-64D42A767CC0}"/>
                </a:ext>
              </a:extLst>
            </p:cNvPr>
            <p:cNvSpPr/>
            <p:nvPr/>
          </p:nvSpPr>
          <p:spPr>
            <a:xfrm>
              <a:off x="7416132" y="4218155"/>
              <a:ext cx="3987789" cy="775966"/>
            </a:xfrm>
            <a:prstGeom prst="roundRect">
              <a:avLst>
                <a:gd name="adj" fmla="val 34303"/>
              </a:avLst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1125"/>
                </a:spcAft>
              </a:pPr>
              <a:r>
                <a:rPr lang="ru-RU" sz="2000" b="1" dirty="0">
                  <a:solidFill>
                    <a:schemeClr val="bg1"/>
                  </a:solidFill>
                  <a:latin typeface="Abadi" panose="020B0604020104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Руководящий комитет ЦАРЭС по вопросам изменения климата</a:t>
              </a:r>
              <a:endParaRPr lang="en-PT" sz="2000">
                <a:solidFill>
                  <a:schemeClr val="bg1"/>
                </a:solidFill>
                <a:effectLst/>
                <a:latin typeface="Abadi" panose="020B060402010402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5" name="Rectangle: Rounded Corners 16">
              <a:extLst>
                <a:ext uri="{FF2B5EF4-FFF2-40B4-BE49-F238E27FC236}">
                  <a16:creationId xmlns:a16="http://schemas.microsoft.com/office/drawing/2014/main" id="{B23F3E28-745A-26A5-B826-074DB2B5F31F}"/>
                </a:ext>
              </a:extLst>
            </p:cNvPr>
            <p:cNvSpPr/>
            <p:nvPr/>
          </p:nvSpPr>
          <p:spPr>
            <a:xfrm>
              <a:off x="7400349" y="5070508"/>
              <a:ext cx="4003572" cy="1792955"/>
            </a:xfrm>
            <a:prstGeom prst="roundRect">
              <a:avLst>
                <a:gd name="adj" fmla="val 8228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1125"/>
                </a:spcAft>
              </a:pPr>
              <a:endParaRPr lang="en-PT" sz="1100">
                <a:solidFill>
                  <a:schemeClr val="bg1"/>
                </a:solidFill>
                <a:effectLst/>
                <a:latin typeface="Abadi" panose="020B060402010402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B163A329-6720-2B08-A972-109DB3C65678}"/>
              </a:ext>
            </a:extLst>
          </p:cNvPr>
          <p:cNvSpPr txBox="1"/>
          <p:nvPr/>
        </p:nvSpPr>
        <p:spPr>
          <a:xfrm>
            <a:off x="270703" y="308637"/>
            <a:ext cx="11395293" cy="9065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</a:pPr>
            <a:r>
              <a:rPr lang="ru-RU" sz="3100" b="1" dirty="0">
                <a:latin typeface="Abadi" panose="020B0604020104020204" pitchFamily="34" charset="0"/>
                <a:cs typeface="Arial" panose="020B0604020202020204" pitchFamily="34" charset="0"/>
              </a:rPr>
              <a:t>Управление в целях реализации видения в области изменения климата</a:t>
            </a:r>
            <a:endParaRPr lang="en-US" sz="3100" b="1" dirty="0">
              <a:latin typeface="Abadi" panose="020B0604020104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932467E-F7DF-F096-98F9-237BC3B5002A}"/>
              </a:ext>
            </a:extLst>
          </p:cNvPr>
          <p:cNvSpPr txBox="1"/>
          <p:nvPr/>
        </p:nvSpPr>
        <p:spPr>
          <a:xfrm>
            <a:off x="589022" y="3006257"/>
            <a:ext cx="5102886" cy="25545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68275" indent="-168275">
              <a:buFont typeface="Arial" panose="020B0604020202020204" pitchFamily="34" charset="0"/>
              <a:buChar char="•"/>
            </a:pPr>
            <a:r>
              <a:rPr lang="ru-RU" sz="2000" dirty="0">
                <a:latin typeface="Abadi" panose="020B0604020104020204" pitchFamily="34" charset="0"/>
                <a:cs typeface="Arial" panose="020B0604020202020204" pitchFamily="34" charset="0"/>
              </a:rPr>
              <a:t>Контроль за деятельностью ЦАРЭС по борьбе с изменением климата совместно с экспертными группами</a:t>
            </a:r>
          </a:p>
          <a:p>
            <a:pPr marL="168275" indent="-168275">
              <a:buFont typeface="Arial" panose="020B0604020202020204" pitchFamily="34" charset="0"/>
              <a:buChar char="•"/>
            </a:pPr>
            <a:r>
              <a:rPr lang="ru-RU" sz="2000" dirty="0">
                <a:latin typeface="Abadi" panose="020B0604020104020204" pitchFamily="34" charset="0"/>
                <a:cs typeface="Arial" panose="020B0604020202020204" pitchFamily="34" charset="0"/>
              </a:rPr>
              <a:t>Обзор стратегий, планов действий </a:t>
            </a:r>
          </a:p>
          <a:p>
            <a:pPr marL="168275" indent="-168275">
              <a:buFont typeface="Arial" panose="020B0604020202020204" pitchFamily="34" charset="0"/>
              <a:buChar char="•"/>
            </a:pPr>
            <a:r>
              <a:rPr lang="ru-RU" sz="2000" dirty="0">
                <a:latin typeface="Abadi" panose="020B0604020104020204" pitchFamily="34" charset="0"/>
                <a:cs typeface="Arial" panose="020B0604020202020204" pitchFamily="34" charset="0"/>
              </a:rPr>
              <a:t>Утверждение приоритетных секторов и проектов в 5 кластерах ЦАРЭС</a:t>
            </a:r>
          </a:p>
          <a:p>
            <a:pPr marL="168275" indent="-168275">
              <a:buFont typeface="Arial" panose="020B0604020202020204" pitchFamily="34" charset="0"/>
              <a:buChar char="•"/>
            </a:pPr>
            <a:r>
              <a:rPr lang="ru-RU" sz="2000" dirty="0">
                <a:latin typeface="Abadi" panose="020B0604020104020204" pitchFamily="34" charset="0"/>
                <a:cs typeface="Arial" panose="020B0604020202020204" pitchFamily="34" charset="0"/>
              </a:rPr>
              <a:t>Координировать работу между ПР и секторальными комитетами</a:t>
            </a:r>
            <a:endParaRPr lang="en-US" sz="1600" dirty="0">
              <a:latin typeface="Abadi" panose="020B0604020104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8" descr="A logo with a red and yellow circle&#10;&#10;Description automatically generated">
            <a:extLst>
              <a:ext uri="{FF2B5EF4-FFF2-40B4-BE49-F238E27FC236}">
                <a16:creationId xmlns:a16="http://schemas.microsoft.com/office/drawing/2014/main" id="{2D15CD6E-E808-013B-B2D2-8C8529F30B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48381" y="5654140"/>
            <a:ext cx="1028221" cy="1028221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0F1D5906-C69F-EA95-3F9C-165A5A29F272}"/>
              </a:ext>
            </a:extLst>
          </p:cNvPr>
          <p:cNvGrpSpPr/>
          <p:nvPr/>
        </p:nvGrpSpPr>
        <p:grpSpPr>
          <a:xfrm>
            <a:off x="6210753" y="1184284"/>
            <a:ext cx="5710543" cy="4469857"/>
            <a:chOff x="7326519" y="4233581"/>
            <a:chExt cx="4016310" cy="2329752"/>
          </a:xfrm>
        </p:grpSpPr>
        <p:sp>
          <p:nvSpPr>
            <p:cNvPr id="13" name="Rectangle: Rounded Corners 16">
              <a:extLst>
                <a:ext uri="{FF2B5EF4-FFF2-40B4-BE49-F238E27FC236}">
                  <a16:creationId xmlns:a16="http://schemas.microsoft.com/office/drawing/2014/main" id="{3ED35D20-85E5-9EF5-93E6-56A2067BD8AD}"/>
                </a:ext>
              </a:extLst>
            </p:cNvPr>
            <p:cNvSpPr/>
            <p:nvPr/>
          </p:nvSpPr>
          <p:spPr>
            <a:xfrm>
              <a:off x="7326519" y="4233581"/>
              <a:ext cx="3984069" cy="703411"/>
            </a:xfrm>
            <a:prstGeom prst="roundRect">
              <a:avLst>
                <a:gd name="adj" fmla="val 34303"/>
              </a:avLst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ru-RU" sz="2400" b="1" dirty="0" err="1">
                  <a:solidFill>
                    <a:schemeClr val="bg1"/>
                  </a:solidFill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  <a:latin typeface="Abadi"/>
                  <a:cs typeface="Arial"/>
                </a:rPr>
                <a:t>Межсекторальная</a:t>
              </a:r>
              <a:r>
                <a:rPr lang="ru-RU" sz="2400" b="1" dirty="0">
                  <a:solidFill>
                    <a:schemeClr val="bg1"/>
                  </a:solidFill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  <a:latin typeface="Abadi"/>
                  <a:cs typeface="Arial"/>
                </a:rPr>
                <a:t> экспертная рабочая группа ЦАРЭС </a:t>
              </a:r>
              <a:r>
                <a:rPr lang="ru-RU" sz="2400" dirty="0">
                  <a:solidFill>
                    <a:schemeClr val="bg1"/>
                  </a:solidFill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  <a:latin typeface="Abadi"/>
                  <a:cs typeface="Arial"/>
                </a:rPr>
                <a:t>по вопросам изменения климата</a:t>
              </a:r>
              <a:endParaRPr lang="en-GB" sz="2400" dirty="0">
                <a:solidFill>
                  <a:schemeClr val="bg1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Abadi"/>
                <a:cs typeface="Arial"/>
              </a:endParaRPr>
            </a:p>
          </p:txBody>
        </p:sp>
        <p:sp>
          <p:nvSpPr>
            <p:cNvPr id="14" name="Rectangle: Rounded Corners 16">
              <a:extLst>
                <a:ext uri="{FF2B5EF4-FFF2-40B4-BE49-F238E27FC236}">
                  <a16:creationId xmlns:a16="http://schemas.microsoft.com/office/drawing/2014/main" id="{A18E9745-A71A-FD3F-CB31-F257CD1BEDC9}"/>
                </a:ext>
              </a:extLst>
            </p:cNvPr>
            <p:cNvSpPr/>
            <p:nvPr/>
          </p:nvSpPr>
          <p:spPr>
            <a:xfrm>
              <a:off x="7374543" y="4980517"/>
              <a:ext cx="3968286" cy="1582816"/>
            </a:xfrm>
            <a:prstGeom prst="roundRect">
              <a:avLst>
                <a:gd name="adj" fmla="val 8228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1125"/>
                </a:spcAft>
              </a:pPr>
              <a:endParaRPr lang="en-PT" sz="1100">
                <a:solidFill>
                  <a:schemeClr val="bg1"/>
                </a:solidFill>
                <a:effectLst/>
                <a:latin typeface="Abadi" panose="020B060402010402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C8C7CC44-A80D-1BCB-8A50-E021C1B72851}"/>
              </a:ext>
            </a:extLst>
          </p:cNvPr>
          <p:cNvSpPr txBox="1"/>
          <p:nvPr/>
        </p:nvSpPr>
        <p:spPr>
          <a:xfrm>
            <a:off x="6210753" y="3067813"/>
            <a:ext cx="5765849" cy="24314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900" dirty="0">
                <a:latin typeface="Abadi"/>
                <a:cs typeface="Arial"/>
              </a:rPr>
              <a:t>Приведение приоритетных кластеров в соответствие с Парижским соглашением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900" dirty="0">
                <a:latin typeface="Abadi"/>
                <a:cs typeface="Arial"/>
              </a:rPr>
              <a:t>Представлены различными государственными органами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900" dirty="0">
                <a:latin typeface="Abadi"/>
                <a:cs typeface="Arial"/>
              </a:rPr>
              <a:t>Определение приоритетности инициатив, связанных с климатом, в соответствии с климатической повесткой в регионе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900" dirty="0">
                <a:latin typeface="Abadi"/>
                <a:cs typeface="Arial"/>
              </a:rPr>
              <a:t>Консультирование по финансовым инструментам</a:t>
            </a:r>
            <a:endParaRPr lang="en-GB" sz="1900" dirty="0">
              <a:solidFill>
                <a:schemeClr val="tx1"/>
              </a:solidFill>
              <a:latin typeface="Abadi"/>
            </a:endParaRPr>
          </a:p>
        </p:txBody>
      </p:sp>
      <p:sp>
        <p:nvSpPr>
          <p:cNvPr id="5" name="Rectangle: Rounded Corners 16">
            <a:extLst>
              <a:ext uri="{FF2B5EF4-FFF2-40B4-BE49-F238E27FC236}">
                <a16:creationId xmlns:a16="http://schemas.microsoft.com/office/drawing/2014/main" id="{C4BD02B7-8D8D-9123-33A3-358D54EA734C}"/>
              </a:ext>
            </a:extLst>
          </p:cNvPr>
          <p:cNvSpPr/>
          <p:nvPr/>
        </p:nvSpPr>
        <p:spPr>
          <a:xfrm>
            <a:off x="608452" y="5783521"/>
            <a:ext cx="9772677" cy="1022063"/>
          </a:xfrm>
          <a:prstGeom prst="roundRect">
            <a:avLst>
              <a:gd name="adj" fmla="val 3430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badi" panose="020B0604020104020204" pitchFamily="34" charset="0"/>
                <a:cs typeface="Arial"/>
              </a:rPr>
              <a:t>ТП АБР "Поддержка региональных мер по борьбе с изменением климата в рамках Программы ЦАРЭС" утверждена в сентябре 2023 г. (750 000 долл. США</a:t>
            </a:r>
            <a:r>
              <a:rPr lang="en-US" sz="2000" b="1" dirty="0">
                <a:solidFill>
                  <a:schemeClr val="bg1"/>
                </a:solidFill>
                <a:latin typeface="Abadi" panose="020B0604020104020204" pitchFamily="34" charset="0"/>
                <a:cs typeface="Arial"/>
              </a:rPr>
              <a:t>)</a:t>
            </a:r>
          </a:p>
          <a:p>
            <a:endParaRPr lang="en-GB" sz="2400" dirty="0">
              <a:solidFill>
                <a:schemeClr val="bg1"/>
              </a:solidFill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  <a:latin typeface="Abad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123328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ADC6942-5B49-7822-9811-1ACAE0DA46CE}"/>
              </a:ext>
            </a:extLst>
          </p:cNvPr>
          <p:cNvSpPr/>
          <p:nvPr/>
        </p:nvSpPr>
        <p:spPr>
          <a:xfrm>
            <a:off x="1" y="-9242"/>
            <a:ext cx="8704731" cy="1292923"/>
          </a:xfrm>
          <a:custGeom>
            <a:avLst/>
            <a:gdLst>
              <a:gd name="connsiteX0" fmla="*/ 0 w 8704731"/>
              <a:gd name="connsiteY0" fmla="*/ 0 h 1292923"/>
              <a:gd name="connsiteX1" fmla="*/ 8691119 w 8704731"/>
              <a:gd name="connsiteY1" fmla="*/ 0 h 1292923"/>
              <a:gd name="connsiteX2" fmla="*/ 8704731 w 8704731"/>
              <a:gd name="connsiteY2" fmla="*/ 67422 h 1292923"/>
              <a:gd name="connsiteX3" fmla="*/ 8704731 w 8704731"/>
              <a:gd name="connsiteY3" fmla="*/ 877883 h 1292923"/>
              <a:gd name="connsiteX4" fmla="*/ 8289691 w 8704731"/>
              <a:gd name="connsiteY4" fmla="*/ 1292923 h 1292923"/>
              <a:gd name="connsiteX5" fmla="*/ 0 w 8704731"/>
              <a:gd name="connsiteY5" fmla="*/ 1292923 h 1292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04731" h="1292923">
                <a:moveTo>
                  <a:pt x="0" y="0"/>
                </a:moveTo>
                <a:lnTo>
                  <a:pt x="8691119" y="0"/>
                </a:lnTo>
                <a:lnTo>
                  <a:pt x="8704731" y="67422"/>
                </a:lnTo>
                <a:lnTo>
                  <a:pt x="8704731" y="877883"/>
                </a:lnTo>
                <a:cubicBezTo>
                  <a:pt x="8704731" y="1107103"/>
                  <a:pt x="8518911" y="1292923"/>
                  <a:pt x="8289691" y="1292923"/>
                </a:cubicBezTo>
                <a:lnTo>
                  <a:pt x="0" y="1292923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D651B28-4E7B-43CA-3A4D-37732D02B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8358051" cy="810532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b="1" dirty="0">
                <a:solidFill>
                  <a:schemeClr val="bg1"/>
                </a:solidFill>
                <a:latin typeface="Abadi" panose="020B0604020104020204" pitchFamily="34" charset="0"/>
                <a:ea typeface="+mn-ea"/>
                <a:cs typeface="Arial"/>
              </a:rPr>
              <a:t>На рассмотрение министров стран ЦАРЭС</a:t>
            </a:r>
            <a:endParaRPr lang="en-US" sz="3600" b="1" dirty="0">
              <a:solidFill>
                <a:schemeClr val="bg1"/>
              </a:solidFill>
              <a:latin typeface="Abadi" panose="020B0604020104020204" pitchFamily="34" charset="0"/>
              <a:ea typeface="+mn-ea"/>
              <a:cs typeface="Arial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6644B0-F253-FEB4-D167-7EA85396C136}"/>
              </a:ext>
            </a:extLst>
          </p:cNvPr>
          <p:cNvSpPr txBox="1">
            <a:spLocks/>
          </p:cNvSpPr>
          <p:nvPr/>
        </p:nvSpPr>
        <p:spPr>
          <a:xfrm>
            <a:off x="-1" y="1512916"/>
            <a:ext cx="11986953" cy="5345084"/>
          </a:xfrm>
          <a:prstGeom prst="rect">
            <a:avLst/>
          </a:prstGeom>
          <a:effectLst/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Symbol" pitchFamily="2" charset="2"/>
              <a:buChar char=""/>
            </a:pPr>
            <a:r>
              <a:rPr lang="ru-RU" sz="2400" dirty="0">
                <a:solidFill>
                  <a:srgbClr val="000000"/>
                </a:solidFill>
                <a:ea typeface="SimSun"/>
                <a:cs typeface="Arial"/>
              </a:rPr>
              <a:t>Просим Министров </a:t>
            </a:r>
            <a:r>
              <a:rPr lang="ru-RU" sz="2400" b="1" dirty="0">
                <a:solidFill>
                  <a:srgbClr val="00B05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ea typeface="Calibri"/>
                <a:cs typeface="Times New Roman" panose="02020603050405020304" pitchFamily="18" charset="0"/>
              </a:rPr>
              <a:t>одобрить</a:t>
            </a:r>
            <a:r>
              <a:rPr lang="ru-RU" sz="2400" dirty="0">
                <a:solidFill>
                  <a:srgbClr val="00B05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ea typeface="Calibri"/>
                <a:cs typeface="Times New Roman" panose="02020603050405020304" pitchFamily="18" charset="0"/>
              </a:rPr>
              <a:t> </a:t>
            </a:r>
            <a:r>
              <a:rPr lang="ru-RU" sz="2400" dirty="0">
                <a:solidFill>
                  <a:srgbClr val="000000"/>
                </a:solidFill>
                <a:ea typeface="SimSun"/>
                <a:cs typeface="Arial"/>
              </a:rPr>
              <a:t>документ</a:t>
            </a:r>
            <a:r>
              <a:rPr lang="ru-RU" sz="2400" dirty="0">
                <a:solidFill>
                  <a:srgbClr val="00B05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ea typeface="Calibri"/>
                <a:cs typeface="Times New Roman" panose="02020603050405020304" pitchFamily="18" charset="0"/>
              </a:rPr>
              <a:t>  по видение в области изменения климата ЦАРЭС.</a:t>
            </a:r>
            <a:endParaRPr lang="en-US" sz="2400" dirty="0">
              <a:solidFill>
                <a:srgbClr val="00B050"/>
              </a:solidFill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  <a:ea typeface="Calibri"/>
              <a:cs typeface="Times New Roman" panose="02020603050405020304" pitchFamily="18" charset="0"/>
            </a:endParaRPr>
          </a:p>
          <a:p>
            <a:pPr marL="342900" indent="-342900" algn="just" fontAlgn="base">
              <a:spcBef>
                <a:spcPts val="0"/>
              </a:spcBef>
              <a:spcAft>
                <a:spcPts val="1200"/>
              </a:spcAft>
              <a:buFont typeface="Symbol" pitchFamily="2" charset="2"/>
              <a:buChar char=""/>
            </a:pPr>
            <a:r>
              <a:rPr lang="ru-RU" sz="2400" dirty="0">
                <a:latin typeface="Abadi"/>
                <a:ea typeface="Times New Roman" panose="02020603050405020304" pitchFamily="18" charset="0"/>
              </a:rPr>
              <a:t>Просим поддержать создание </a:t>
            </a:r>
            <a:r>
              <a:rPr lang="ru-RU" sz="2400" b="1" i="1" dirty="0">
                <a:solidFill>
                  <a:srgbClr val="00B050"/>
                </a:solidFill>
                <a:cs typeface="Arial"/>
              </a:rPr>
              <a:t>Руководящую структуру ЦАРЭС по вопросам изменения климата</a:t>
            </a:r>
            <a:r>
              <a:rPr lang="en-PH" sz="2400" dirty="0">
                <a:latin typeface="Abadi"/>
                <a:ea typeface="Times New Roman" panose="02020603050405020304" pitchFamily="18" charset="0"/>
              </a:rPr>
              <a:t>.  </a:t>
            </a:r>
            <a:endParaRPr lang="en-US" sz="2400" dirty="0">
              <a:latin typeface="Abadi"/>
              <a:ea typeface="Times New Roman" panose="02020603050405020304" pitchFamily="18" charset="0"/>
              <a:cs typeface="Calibri" panose="020F0502020204030204"/>
            </a:endParaRPr>
          </a:p>
          <a:p>
            <a:pPr marL="800100" lvl="1" indent="-342900" algn="just" fontAlgn="base">
              <a:spcBef>
                <a:spcPts val="0"/>
              </a:spcBef>
              <a:spcAft>
                <a:spcPts val="1200"/>
              </a:spcAft>
              <a:buFont typeface="Symbol" pitchFamily="2" charset="2"/>
              <a:buChar char=""/>
            </a:pPr>
            <a:r>
              <a:rPr lang="ru-RU" b="1" dirty="0">
                <a:solidFill>
                  <a:srgbClr val="00B050"/>
                </a:solidFill>
                <a:latin typeface="Abadi"/>
              </a:rPr>
              <a:t>Руководящему комитету ЦАРЭС по вопросам изменения климата</a:t>
            </a:r>
            <a:r>
              <a:rPr lang="en-PH" b="1" dirty="0">
                <a:solidFill>
                  <a:srgbClr val="00B050"/>
                </a:solidFill>
                <a:latin typeface="Abadi"/>
              </a:rPr>
              <a:t> </a:t>
            </a:r>
            <a:r>
              <a:rPr lang="ru-RU" dirty="0">
                <a:latin typeface="Abadi"/>
                <a:ea typeface="Times New Roman" panose="02020603050405020304" pitchFamily="18" charset="0"/>
              </a:rPr>
              <a:t>предстоит разработать </a:t>
            </a:r>
            <a:r>
              <a:rPr lang="ru-RU" b="1" dirty="0">
                <a:solidFill>
                  <a:srgbClr val="00B050"/>
                </a:solidFill>
                <a:latin typeface="Abadi"/>
              </a:rPr>
              <a:t>План действий ЦАРЭС в области климата,</a:t>
            </a:r>
            <a:r>
              <a:rPr lang="en-PH" b="1" dirty="0">
                <a:solidFill>
                  <a:srgbClr val="00B05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Abadi"/>
              </a:rPr>
              <a:t> </a:t>
            </a:r>
            <a:r>
              <a:rPr lang="ru-RU" dirty="0">
                <a:latin typeface="Abadi"/>
                <a:ea typeface="Times New Roman" panose="02020603050405020304" pitchFamily="18" charset="0"/>
              </a:rPr>
              <a:t>который будет поэтапно реализовывать действия, предусмотренные в Видении</a:t>
            </a:r>
            <a:r>
              <a:rPr lang="en-PH" dirty="0">
                <a:latin typeface="Abadi"/>
                <a:ea typeface="Times New Roman" panose="02020603050405020304" pitchFamily="18" charset="0"/>
              </a:rPr>
              <a:t>.</a:t>
            </a:r>
            <a:endParaRPr lang="en-US" dirty="0">
              <a:latin typeface="Abadi"/>
              <a:ea typeface="Times New Roman" panose="02020603050405020304" pitchFamily="18" charset="0"/>
              <a:cs typeface="Calibri"/>
            </a:endParaRPr>
          </a:p>
          <a:p>
            <a:pPr marL="800100" lvl="1" indent="-342900" algn="just" fontAlgn="base">
              <a:spcBef>
                <a:spcPts val="0"/>
              </a:spcBef>
              <a:spcAft>
                <a:spcPts val="1200"/>
              </a:spcAft>
              <a:buFont typeface="Symbol" pitchFamily="2" charset="2"/>
              <a:buChar char=""/>
            </a:pPr>
            <a:r>
              <a:rPr lang="ru-RU" b="1" dirty="0">
                <a:solidFill>
                  <a:srgbClr val="00B050"/>
                </a:solidFill>
                <a:latin typeface="Abadi"/>
              </a:rPr>
              <a:t>Секретариат ЦАРЭС и Институт ЦАРЭС</a:t>
            </a:r>
            <a:r>
              <a:rPr lang="en-PH" b="1" dirty="0">
                <a:solidFill>
                  <a:srgbClr val="00B050"/>
                </a:solidFill>
                <a:latin typeface="Abadi"/>
              </a:rPr>
              <a:t> </a:t>
            </a:r>
            <a:r>
              <a:rPr lang="ru-RU" dirty="0">
                <a:latin typeface="Abadi"/>
                <a:ea typeface="Times New Roman" panose="02020603050405020304" pitchFamily="18" charset="0"/>
              </a:rPr>
              <a:t> будут отвечать за координацию аналитических мероприятий и мероприятий по наращиванию потенциала</a:t>
            </a:r>
            <a:r>
              <a:rPr lang="en-PH" dirty="0">
                <a:latin typeface="Abadi"/>
                <a:ea typeface="Times New Roman" panose="02020603050405020304" pitchFamily="18" charset="0"/>
              </a:rPr>
              <a:t>.</a:t>
            </a:r>
            <a:endParaRPr lang="en-US" dirty="0">
              <a:latin typeface="Abadi"/>
              <a:ea typeface="Times New Roman" panose="02020603050405020304" pitchFamily="18" charset="0"/>
              <a:cs typeface="Calibri"/>
            </a:endParaRPr>
          </a:p>
          <a:p>
            <a:pPr marL="800100" lvl="1" indent="-342900" algn="just" fontAlgn="base">
              <a:spcBef>
                <a:spcPts val="0"/>
              </a:spcBef>
              <a:spcAft>
                <a:spcPts val="1200"/>
              </a:spcAft>
              <a:buFont typeface="Symbol" pitchFamily="2" charset="2"/>
              <a:buChar char=""/>
            </a:pPr>
            <a:r>
              <a:rPr lang="ru-RU" b="1" dirty="0">
                <a:solidFill>
                  <a:srgbClr val="00B050"/>
                </a:solidFill>
                <a:latin typeface="Abadi"/>
              </a:rPr>
              <a:t>Форум партнеров по развитию ЦАРЭС</a:t>
            </a:r>
            <a:r>
              <a:rPr lang="en-PH" b="1" dirty="0">
                <a:solidFill>
                  <a:srgbClr val="00B050"/>
                </a:solidFill>
                <a:latin typeface="Abadi"/>
              </a:rPr>
              <a:t> </a:t>
            </a:r>
            <a:r>
              <a:rPr lang="ru-RU" dirty="0">
                <a:latin typeface="Abadi"/>
                <a:ea typeface="Times New Roman" panose="02020603050405020304" pitchFamily="18" charset="0"/>
              </a:rPr>
              <a:t>усилит сотрудничество и координацию между партнерами по развитию и донорами для реализации Видения</a:t>
            </a:r>
            <a:r>
              <a:rPr lang="en-PH" dirty="0">
                <a:latin typeface="Abadi"/>
                <a:ea typeface="Times New Roman" panose="02020603050405020304" pitchFamily="18" charset="0"/>
              </a:rPr>
              <a:t>.</a:t>
            </a:r>
            <a:endParaRPr lang="en-US" dirty="0">
              <a:latin typeface="Abadi"/>
              <a:ea typeface="Times New Roman" panose="02020603050405020304" pitchFamily="18" charset="0"/>
              <a:cs typeface="Calibri"/>
            </a:endParaRPr>
          </a:p>
          <a:p>
            <a:pPr marL="800100" lvl="1" indent="-342900" algn="just" fontAlgn="base">
              <a:spcBef>
                <a:spcPts val="0"/>
              </a:spcBef>
              <a:spcAft>
                <a:spcPts val="1200"/>
              </a:spcAft>
              <a:buFont typeface="Symbol" pitchFamily="2" charset="2"/>
              <a:buChar char=""/>
            </a:pPr>
            <a:r>
              <a:rPr lang="ru-RU" b="1" dirty="0">
                <a:solidFill>
                  <a:srgbClr val="00B050"/>
                </a:solidFill>
                <a:latin typeface="Abadi"/>
              </a:rPr>
              <a:t>Секретариат ЦАРЭС </a:t>
            </a:r>
            <a:r>
              <a:rPr lang="ru-RU" dirty="0">
                <a:latin typeface="Abadi"/>
                <a:ea typeface="Times New Roman" panose="02020603050405020304" pitchFamily="18" charset="0"/>
              </a:rPr>
              <a:t>и страны разработают </a:t>
            </a:r>
            <a:r>
              <a:rPr lang="ru-RU" b="1" dirty="0">
                <a:solidFill>
                  <a:srgbClr val="00B050"/>
                </a:solidFill>
                <a:latin typeface="Abadi"/>
              </a:rPr>
              <a:t>план по коммуникации и информационно-разъяснительной работе </a:t>
            </a:r>
            <a:r>
              <a:rPr lang="ru-RU" dirty="0">
                <a:latin typeface="Abadi"/>
                <a:ea typeface="Times New Roman" panose="02020603050405020304" pitchFamily="18" charset="0"/>
              </a:rPr>
              <a:t>в контексте Видения</a:t>
            </a:r>
            <a:r>
              <a:rPr lang="en-PH" dirty="0">
                <a:latin typeface="Abadi"/>
                <a:ea typeface="Times New Roman" panose="02020603050405020304" pitchFamily="18" charset="0"/>
              </a:rPr>
              <a:t>.</a:t>
            </a:r>
            <a:endParaRPr lang="en-US" dirty="0">
              <a:latin typeface="Abadi"/>
              <a:ea typeface="Times New Roman" panose="02020603050405020304" pitchFamily="18" charset="0"/>
              <a:cs typeface="Calibri"/>
            </a:endParaRPr>
          </a:p>
          <a:p>
            <a:endParaRPr lang="en-US" dirty="0">
              <a:latin typeface="Abadi" panose="020B0604020104020204" pitchFamily="34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903603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AEA51434-1A55-4B35-A662-6F446881BF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12490" y="4020411"/>
            <a:ext cx="9144000" cy="825601"/>
          </a:xfrm>
        </p:spPr>
        <p:txBody>
          <a:bodyPr>
            <a:normAutofit/>
          </a:bodyPr>
          <a:lstStyle/>
          <a:p>
            <a:r>
              <a:rPr lang="ru" sz="2000" dirty="0"/>
              <a:t>Заседание национальных координаторов ЦАРЭС</a:t>
            </a:r>
          </a:p>
          <a:p>
            <a:r>
              <a:rPr lang="ru" sz="2000" dirty="0"/>
              <a:t>18 октября 2023 года</a:t>
            </a:r>
          </a:p>
          <a:p>
            <a:endParaRPr lang="en-US" sz="2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49C3CE-5CD1-6584-3A09-6EA1D8AF1EAC}"/>
              </a:ext>
            </a:extLst>
          </p:cNvPr>
          <p:cNvSpPr txBox="1"/>
          <p:nvPr/>
        </p:nvSpPr>
        <p:spPr>
          <a:xfrm>
            <a:off x="1045028" y="1599804"/>
            <a:ext cx="10101943" cy="23083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4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Фонд подготовки проектов по климату и устойчивому развитию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 </a:t>
            </a:r>
            <a:r>
              <a:rPr kumimoji="0" lang="ru" sz="4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ЦАРЭС (</a:t>
            </a: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ФППКУР</a:t>
            </a:r>
            <a:r>
              <a:rPr kumimoji="0" lang="ru" sz="4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/>
                <a:cs typeface="Calibri" panose="020F0502020204030204"/>
              </a:rPr>
              <a:t>)</a:t>
            </a:r>
            <a:endParaRPr kumimoji="0" lang="en-US" sz="4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Calibri" panose="020F0502020204030204"/>
              <a:cs typeface="Calibri" panose="020F0502020204030204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4F73CD-83F9-0A06-9CD4-73FD97257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20219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05BF79B-8ECC-F223-EDC7-77A36F12D2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12735"/>
            <a:ext cx="3527541" cy="2268396"/>
          </a:xfrm>
        </p:spPr>
        <p:txBody>
          <a:bodyPr anchor="b">
            <a:noAutofit/>
          </a:bodyPr>
          <a:lstStyle/>
          <a:p>
            <a:r>
              <a:rPr lang="ru" sz="2625" b="1" dirty="0">
                <a:latin typeface="Calibri" panose="020F0502020204030204" pitchFamily="34" charset="0"/>
                <a:cs typeface="Calibri" panose="020F0502020204030204" pitchFamily="34" charset="0"/>
              </a:rPr>
              <a:t>Фонд подготовки проектов по климату и устойчивому развитию ЦАРЭС (</a:t>
            </a:r>
            <a:r>
              <a:rPr lang="ru-RU" sz="2625" b="1" dirty="0">
                <a:latin typeface="Calibri" panose="020F0502020204030204" pitchFamily="34" charset="0"/>
                <a:cs typeface="Calibri" panose="020F0502020204030204" pitchFamily="34" charset="0"/>
              </a:rPr>
              <a:t>ФППКУР</a:t>
            </a:r>
            <a:r>
              <a:rPr lang="ru" sz="2625" b="1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br>
              <a:rPr lang="en-US" sz="1350" b="1" dirty="0"/>
            </a:br>
            <a:br>
              <a:rPr lang="en-US" sz="1125" b="1" i="1" dirty="0">
                <a:solidFill>
                  <a:schemeClr val="accent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1125" b="1" dirty="0">
              <a:solidFill>
                <a:schemeClr val="accent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CF705E-9A84-C866-F916-28584A100D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775" y="2224651"/>
            <a:ext cx="3116425" cy="2654022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BEB30A8-3323-71FA-C1C0-542ACEEF36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62326" y="981321"/>
            <a:ext cx="7523773" cy="5140681"/>
          </a:xfrm>
        </p:spPr>
        <p:txBody>
          <a:bodyPr anchor="ctr">
            <a:noAutofit/>
          </a:bodyPr>
          <a:lstStyle/>
          <a:p>
            <a:pPr marL="0" indent="0">
              <a:buNone/>
            </a:pPr>
            <a:r>
              <a:rPr lang="ru" sz="1800" b="1" u="sng" dirty="0">
                <a:solidFill>
                  <a:srgbClr val="3960A5"/>
                </a:solidFill>
              </a:rPr>
              <a:t>Контекст ЦАРЭС 2030</a:t>
            </a:r>
          </a:p>
          <a:p>
            <a:pPr>
              <a:lnSpc>
                <a:spcPct val="100000"/>
              </a:lnSpc>
            </a:pPr>
            <a:r>
              <a:rPr lang="ru" sz="1800" dirty="0"/>
              <a:t>Повышение региональной макроэкономической стабильности, улучшение инвестиций и финансовой интеграции.</a:t>
            </a:r>
          </a:p>
          <a:p>
            <a:pPr marL="0" indent="0">
              <a:buNone/>
            </a:pPr>
            <a:r>
              <a:rPr lang="ru-RU" sz="1800" b="1" u="sng" dirty="0">
                <a:solidFill>
                  <a:srgbClr val="3960A5"/>
                </a:solidFill>
              </a:rPr>
              <a:t>Региональное видение и действия ЦАРЭС в области изменения климата</a:t>
            </a:r>
            <a:endParaRPr lang="ru" sz="1800" b="1" u="sng" dirty="0">
              <a:solidFill>
                <a:srgbClr val="3960A5"/>
              </a:solidFill>
            </a:endParaRPr>
          </a:p>
          <a:p>
            <a:r>
              <a:rPr lang="ru" sz="1800" dirty="0">
                <a:solidFill>
                  <a:srgbClr val="000000"/>
                </a:solidFill>
                <a:ea typeface="SimSun" panose="02010600030101010101" pitchFamily="2" charset="-122"/>
                <a:cs typeface="Times New Roman" panose="02020603050405020304" pitchFamily="18" charset="0"/>
              </a:rPr>
              <a:t>ЦАРЭС может играть ведущую роль в поддержке скоординированных действий по борьбе с изменением климата среди стран-членов.</a:t>
            </a:r>
          </a:p>
          <a:p>
            <a:pPr marL="0" indent="0">
              <a:buNone/>
            </a:pPr>
            <a:r>
              <a:rPr lang="ru" sz="1800" b="1" u="sng" dirty="0">
                <a:solidFill>
                  <a:srgbClr val="3960A5"/>
                </a:solidFill>
              </a:rPr>
              <a:t>Обоснование </a:t>
            </a:r>
            <a:r>
              <a:rPr lang="ru-RU" sz="1800" b="1" u="sng" dirty="0">
                <a:solidFill>
                  <a:srgbClr val="3960A5"/>
                </a:solidFill>
              </a:rPr>
              <a:t>ФППКУР</a:t>
            </a:r>
            <a:r>
              <a:rPr lang="ru" sz="1800" b="1" u="sng" dirty="0">
                <a:solidFill>
                  <a:srgbClr val="3960A5"/>
                </a:solidFill>
              </a:rPr>
              <a:t> ЦАРЭС (ранее назывался RIPEF)</a:t>
            </a:r>
          </a:p>
          <a:p>
            <a:r>
              <a:rPr lang="ru" sz="1800" dirty="0">
                <a:ea typeface="Calibri" panose="020F0502020204030204" pitchFamily="34" charset="0"/>
                <a:cs typeface="Arial" panose="020B0604020202020204" pitchFamily="34" charset="0"/>
              </a:rPr>
              <a:t>Решение вызовов для региональных инфраструктурных проектов ЦАРЭС: увеличение дефицита финансирования инфраструктуры, недостаточный потенциал, недостижение целевых показателей по изменению климата и целей ЦУР, отсутствие готовых к инвестициям проектов, ограниченное финансирование частного сектора и недиверсифицированные источники финансирования и пр.</a:t>
            </a:r>
            <a:endParaRPr lang="en-US" sz="18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" sz="1800" b="1" u="sng" dirty="0">
                <a:solidFill>
                  <a:srgbClr val="3960A5"/>
                </a:solidFill>
              </a:rPr>
              <a:t>Цель</a:t>
            </a:r>
          </a:p>
          <a:p>
            <a:r>
              <a:rPr lang="ru" sz="1800" dirty="0"/>
              <a:t>Специальный мультидонорский трастовый фонд, созданный для поддержки </a:t>
            </a:r>
            <a:r>
              <a:rPr lang="ru" sz="1800" dirty="0">
                <a:ea typeface="Times New Roman" panose="02020603050405020304" pitchFamily="18" charset="0"/>
              </a:rPr>
              <a:t>правительств ЦАРЭС в подготовке проектов и обеспечении готовности с учетом изменения климата и устойчивым образом.</a:t>
            </a:r>
            <a:endParaRPr lang="en-US" sz="1800" b="1" dirty="0"/>
          </a:p>
          <a:p>
            <a:endParaRPr lang="en-US" sz="2000" b="1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1ECF8DA-0657-CBD7-A6B6-8B92DFDD5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CE47BB-7310-46D8-81F3-6ABCEF98FE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25157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blank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7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DAEA74914DCF4CB1BBCF0E2E5EDB11" ma:contentTypeVersion="17" ma:contentTypeDescription="Create a new document." ma:contentTypeScope="" ma:versionID="30482bcb042da94300ab269d05646591">
  <xsd:schema xmlns:xsd="http://www.w3.org/2001/XMLSchema" xmlns:xs="http://www.w3.org/2001/XMLSchema" xmlns:p="http://schemas.microsoft.com/office/2006/metadata/properties" xmlns:ns2="f668aa56-9285-4561-92d6-d6343913a899" xmlns:ns3="4d0bf39f-aee5-4194-a8cf-9eb94d977901" xmlns:ns4="c1fdd505-2570-46c2-bd04-3e0f2d874cf5" targetNamespace="http://schemas.microsoft.com/office/2006/metadata/properties" ma:root="true" ma:fieldsID="43fff43ee8f6aa09ff18a5919b1d8d27" ns2:_="" ns3:_="" ns4:_="">
    <xsd:import namespace="f668aa56-9285-4561-92d6-d6343913a899"/>
    <xsd:import namespace="4d0bf39f-aee5-4194-a8cf-9eb94d977901"/>
    <xsd:import namespace="c1fdd505-2570-46c2-bd04-3e0f2d874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4:TaxCatchAl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68aa56-9285-4561-92d6-d6343913a89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0bf39f-aee5-4194-a8cf-9eb94d9779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15af50e-efb3-4a0e-b425-875ff625e09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fdd505-2570-46c2-bd04-3e0f2d874cf5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cf1b58bf-0af3-43f6-8149-3fc5501c152c}" ma:internalName="TaxCatchAll" ma:showField="CatchAllData" ma:web="f668aa56-9285-4561-92d6-d6343913a89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d0bf39f-aee5-4194-a8cf-9eb94d977901">
      <Terms xmlns="http://schemas.microsoft.com/office/infopath/2007/PartnerControls"/>
    </lcf76f155ced4ddcb4097134ff3c332f>
    <TaxCatchAll xmlns="c1fdd505-2570-46c2-bd04-3e0f2d874cf5" xsi:nil="true"/>
    <SharedWithUsers xmlns="f668aa56-9285-4561-92d6-d6343913a899">
      <UserInfo>
        <DisplayName>Julius Irving C. Santos</DisplayName>
        <AccountId>168</AccountId>
        <AccountType/>
      </UserInfo>
      <UserInfo>
        <DisplayName>Kenzhekhan Abuov</DisplayName>
        <AccountId>1608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83318402-CC2A-4516-976C-9146E06E50F1}">
  <ds:schemaRefs>
    <ds:schemaRef ds:uri="4d0bf39f-aee5-4194-a8cf-9eb94d977901"/>
    <ds:schemaRef ds:uri="c1fdd505-2570-46c2-bd04-3e0f2d874cf5"/>
    <ds:schemaRef ds:uri="f668aa56-9285-4561-92d6-d6343913a89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B812354-EFA7-48FC-BBAE-2C447E34945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CB72933-99C1-4CF7-962A-AD868D751849}">
  <ds:schemaRefs>
    <ds:schemaRef ds:uri="http://schemas.microsoft.com/office/2006/metadata/properties"/>
    <ds:schemaRef ds:uri="c1fdd505-2570-46c2-bd04-3e0f2d874cf5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4d0bf39f-aee5-4194-a8cf-9eb94d977901"/>
    <ds:schemaRef ds:uri="f668aa56-9285-4561-92d6-d6343913a899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</TotalTime>
  <Words>4019</Words>
  <Application>Microsoft Office PowerPoint</Application>
  <PresentationFormat>Widescreen</PresentationFormat>
  <Paragraphs>475</Paragraphs>
  <Slides>41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1</vt:i4>
      </vt:variant>
    </vt:vector>
  </HeadingPairs>
  <TitlesOfParts>
    <vt:vector size="64" baseType="lpstr">
      <vt:lpstr>Abadi</vt:lpstr>
      <vt:lpstr>Aharoni</vt:lpstr>
      <vt:lpstr>Arial</vt:lpstr>
      <vt:lpstr>Arial Nova Light</vt:lpstr>
      <vt:lpstr>Arial,Sans-Serif</vt:lpstr>
      <vt:lpstr>Calibri</vt:lpstr>
      <vt:lpstr>Calibri Light</vt:lpstr>
      <vt:lpstr>Century Gothic</vt:lpstr>
      <vt:lpstr>Kontrapunkt Bob</vt:lpstr>
      <vt:lpstr>Roboto</vt:lpstr>
      <vt:lpstr>Symbol</vt:lpstr>
      <vt:lpstr>Times</vt:lpstr>
      <vt:lpstr>Wingdings</vt:lpstr>
      <vt:lpstr>Wingdings 2</vt:lpstr>
      <vt:lpstr>Office Theme</vt:lpstr>
      <vt:lpstr>blank</vt:lpstr>
      <vt:lpstr>1_Office Theme</vt:lpstr>
      <vt:lpstr>2_Office Theme</vt:lpstr>
      <vt:lpstr>3_Office Theme</vt:lpstr>
      <vt:lpstr>1_blank</vt:lpstr>
      <vt:lpstr>4_Office Theme</vt:lpstr>
      <vt:lpstr>think-cell Folie</vt:lpstr>
      <vt:lpstr>think-cell Slide</vt:lpstr>
      <vt:lpstr>Региональные меры по борьбе с изменением климата: видение Программы ЦАРЭС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На рассмотрение министров стран ЦАРЭС</vt:lpstr>
      <vt:lpstr>PowerPoint Presentation</vt:lpstr>
      <vt:lpstr>Фонд подготовки проектов по климату и устойчивому развитию ЦАРЭС (ФППКУР)  </vt:lpstr>
      <vt:lpstr>PowerPoint Presentation</vt:lpstr>
      <vt:lpstr>PowerPoint Presentation</vt:lpstr>
      <vt:lpstr>  </vt:lpstr>
      <vt:lpstr> обновленная информация по предстоящему Энергетическому инвестиционному форуму Тбилиси, 28-29 ноября 2023 г.</vt:lpstr>
      <vt:lpstr>Справочная информация</vt:lpstr>
      <vt:lpstr>Цель</vt:lpstr>
      <vt:lpstr>Статус 6го Энергетического инвестиционного форума ЦАРЭС</vt:lpstr>
      <vt:lpstr>Ожидания правительств стран ЦАРЭС</vt:lpstr>
      <vt:lpstr>Дальнейшие шаги</vt:lpstr>
      <vt:lpstr>Презентация исследования ЦАРЭС:  Диверсификация торговых потоков и транспортных и транзитных маршрутов в регионе ЦАРЭС</vt:lpstr>
      <vt:lpstr>Введение</vt:lpstr>
      <vt:lpstr>Увеличение торговли товарами за счет цен на энергоносители...</vt:lpstr>
      <vt:lpstr>...и экспорт в Российскую Федерацию.</vt:lpstr>
      <vt:lpstr>Компоненты роста экспорта</vt:lpstr>
      <vt:lpstr>Реэкспорт</vt:lpstr>
      <vt:lpstr>Пересмотр транзитных маршрутов</vt:lpstr>
      <vt:lpstr>Краткое подведение итогов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Повестка дня 22ой МК (утро)</vt:lpstr>
      <vt:lpstr>Повестка дня 22ой МК (вторая половина дня)</vt:lpstr>
      <vt:lpstr>Основные результаты и документы</vt:lpstr>
      <vt:lpstr>Основные положения Совместного заявления Министров 22-й Министерской конференции ЦАРЭС</vt:lpstr>
      <vt:lpstr>Справочно: дополнительные мероприятия 22ой МК ЦАРЭС </vt:lpstr>
      <vt:lpstr>Справочно: дополнительные мероприятия 22ой МК ЦАРЭС </vt:lpstr>
      <vt:lpstr>Справочно: дополнительные мероприятия МК ЦАРЭС </vt:lpstr>
      <vt:lpstr>Предоставление методических рекомендаций и поддержки для НК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gional Action  on Climate Change:  A Vision for CAREC in 2050 </dc:title>
  <dc:subject/>
  <dc:creator>Johannes Friedrich Linn</dc:creator>
  <cp:keywords/>
  <dc:description/>
  <cp:lastModifiedBy>Reneli Gloria</cp:lastModifiedBy>
  <cp:revision>11</cp:revision>
  <dcterms:created xsi:type="dcterms:W3CDTF">2023-08-31T21:24:35Z</dcterms:created>
  <dcterms:modified xsi:type="dcterms:W3CDTF">2023-10-18T04:16:0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17d4574-7375-4d17-b29c-6e4c6df0fcb0_Enabled">
    <vt:lpwstr>true</vt:lpwstr>
  </property>
  <property fmtid="{D5CDD505-2E9C-101B-9397-08002B2CF9AE}" pid="3" name="MSIP_Label_817d4574-7375-4d17-b29c-6e4c6df0fcb0_SetDate">
    <vt:lpwstr>2023-09-04T05:18:45Z</vt:lpwstr>
  </property>
  <property fmtid="{D5CDD505-2E9C-101B-9397-08002B2CF9AE}" pid="4" name="MSIP_Label_817d4574-7375-4d17-b29c-6e4c6df0fcb0_Method">
    <vt:lpwstr>Standard</vt:lpwstr>
  </property>
  <property fmtid="{D5CDD505-2E9C-101B-9397-08002B2CF9AE}" pid="5" name="MSIP_Label_817d4574-7375-4d17-b29c-6e4c6df0fcb0_Name">
    <vt:lpwstr>ADB Internal</vt:lpwstr>
  </property>
  <property fmtid="{D5CDD505-2E9C-101B-9397-08002B2CF9AE}" pid="6" name="MSIP_Label_817d4574-7375-4d17-b29c-6e4c6df0fcb0_SiteId">
    <vt:lpwstr>9495d6bb-41c2-4c58-848f-92e52cf3d640</vt:lpwstr>
  </property>
  <property fmtid="{D5CDD505-2E9C-101B-9397-08002B2CF9AE}" pid="7" name="MSIP_Label_817d4574-7375-4d17-b29c-6e4c6df0fcb0_ActionId">
    <vt:lpwstr>98b369a4-3000-43cd-ae4f-d3f69b48ef43</vt:lpwstr>
  </property>
  <property fmtid="{D5CDD505-2E9C-101B-9397-08002B2CF9AE}" pid="8" name="MSIP_Label_817d4574-7375-4d17-b29c-6e4c6df0fcb0_ContentBits">
    <vt:lpwstr>2</vt:lpwstr>
  </property>
  <property fmtid="{D5CDD505-2E9C-101B-9397-08002B2CF9AE}" pid="9" name="ClassificationContentMarkingFooterLocations">
    <vt:lpwstr>Office Theme:8</vt:lpwstr>
  </property>
  <property fmtid="{D5CDD505-2E9C-101B-9397-08002B2CF9AE}" pid="10" name="ClassificationContentMarkingFooterText">
    <vt:lpwstr>INTERNAL. This information is accessible to ADB Management and staff. It may be shared outside ADB with appropriate permission.</vt:lpwstr>
  </property>
  <property fmtid="{D5CDD505-2E9C-101B-9397-08002B2CF9AE}" pid="11" name="ContentTypeId">
    <vt:lpwstr>0x0101009FDAEA74914DCF4CB1BBCF0E2E5EDB11</vt:lpwstr>
  </property>
  <property fmtid="{D5CDD505-2E9C-101B-9397-08002B2CF9AE}" pid="12" name="MediaServiceImageTags">
    <vt:lpwstr/>
  </property>
</Properties>
</file>